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912" r:id="rId2"/>
  </p:sldMasterIdLst>
  <p:notesMasterIdLst>
    <p:notesMasterId r:id="rId50"/>
  </p:notesMasterIdLst>
  <p:handoutMasterIdLst>
    <p:handoutMasterId r:id="rId51"/>
  </p:handoutMasterIdLst>
  <p:sldIdLst>
    <p:sldId id="455" r:id="rId3"/>
    <p:sldId id="2147473530" r:id="rId4"/>
    <p:sldId id="482" r:id="rId5"/>
    <p:sldId id="2147473554" r:id="rId6"/>
    <p:sldId id="2147473569" r:id="rId7"/>
    <p:sldId id="2147473567" r:id="rId8"/>
    <p:sldId id="2147473555" r:id="rId9"/>
    <p:sldId id="2147473556" r:id="rId10"/>
    <p:sldId id="2147473570" r:id="rId11"/>
    <p:sldId id="2147473557" r:id="rId12"/>
    <p:sldId id="2147473571" r:id="rId13"/>
    <p:sldId id="2147473573" r:id="rId14"/>
    <p:sldId id="2147473560" r:id="rId15"/>
    <p:sldId id="2147473561" r:id="rId16"/>
    <p:sldId id="2147473559" r:id="rId17"/>
    <p:sldId id="2147473562" r:id="rId18"/>
    <p:sldId id="2147473565" r:id="rId19"/>
    <p:sldId id="2147473547" r:id="rId20"/>
    <p:sldId id="483" r:id="rId21"/>
    <p:sldId id="2147473513" r:id="rId22"/>
    <p:sldId id="2147473516" r:id="rId23"/>
    <p:sldId id="2147473538" r:id="rId24"/>
    <p:sldId id="2147473540" r:id="rId25"/>
    <p:sldId id="2147473549" r:id="rId26"/>
    <p:sldId id="2147473563" r:id="rId27"/>
    <p:sldId id="2147473564" r:id="rId28"/>
    <p:sldId id="2147473528" r:id="rId29"/>
    <p:sldId id="2147473552" r:id="rId30"/>
    <p:sldId id="2147473518" r:id="rId31"/>
    <p:sldId id="2147473524" r:id="rId32"/>
    <p:sldId id="2147473525" r:id="rId33"/>
    <p:sldId id="2147473551" r:id="rId34"/>
    <p:sldId id="2147473574" r:id="rId35"/>
    <p:sldId id="2147473526" r:id="rId36"/>
    <p:sldId id="2147473543" r:id="rId37"/>
    <p:sldId id="2147473519" r:id="rId38"/>
    <p:sldId id="2147473566" r:id="rId39"/>
    <p:sldId id="2147473545" r:id="rId40"/>
    <p:sldId id="2147473546" r:id="rId41"/>
    <p:sldId id="2147473544" r:id="rId42"/>
    <p:sldId id="2147473553" r:id="rId43"/>
    <p:sldId id="2147473521" r:id="rId44"/>
    <p:sldId id="2147473522" r:id="rId45"/>
    <p:sldId id="2147468741" r:id="rId46"/>
    <p:sldId id="2147473474" r:id="rId47"/>
    <p:sldId id="2147473476" r:id="rId48"/>
    <p:sldId id="2147473466" r:id="rId49"/>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0717"/>
    <a:srgbClr val="000099"/>
    <a:srgbClr val="960000"/>
    <a:srgbClr val="381850"/>
    <a:srgbClr val="040206"/>
    <a:srgbClr val="CCCC00"/>
    <a:srgbClr val="6C00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5CF0FB-80C6-433A-A325-AD1474DF2833}" v="313" dt="2023-03-09T10:23:04.9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845" autoAdjust="0"/>
    <p:restoredTop sz="62799" autoAdjust="0"/>
  </p:normalViewPr>
  <p:slideViewPr>
    <p:cSldViewPr snapToGrid="0">
      <p:cViewPr varScale="1">
        <p:scale>
          <a:sx n="114" d="100"/>
          <a:sy n="114" d="100"/>
        </p:scale>
        <p:origin x="540" y="102"/>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viewProps" Target="viewProp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microsoft.com/office/2016/11/relationships/changesInfo" Target="changesInfos/changesInfo1.xml"/><Relationship Id="rId8" Type="http://schemas.openxmlformats.org/officeDocument/2006/relationships/slide" Target="slides/slide6.xml"/><Relationship Id="rId51" Type="http://schemas.openxmlformats.org/officeDocument/2006/relationships/handoutMaster" Target="handoutMasters/handout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microsoft.com/office/2015/10/relationships/revisionInfo" Target="revisionInfo.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44DE60A2-1DC5-42EF-AF67-89BD8B3CB1DB}"/>
    <pc:docChg chg="addSld modSld">
      <pc:chgData name="Tường SKHĐT" userId="ab9568c39a88b08a" providerId="LiveId" clId="{44DE60A2-1DC5-42EF-AF67-89BD8B3CB1DB}" dt="2023-02-17T09:19:34.412" v="0"/>
      <pc:docMkLst>
        <pc:docMk/>
      </pc:docMkLst>
      <pc:sldChg chg="add">
        <pc:chgData name="Tường SKHĐT" userId="ab9568c39a88b08a" providerId="LiveId" clId="{44DE60A2-1DC5-42EF-AF67-89BD8B3CB1DB}" dt="2023-02-17T09:19:34.412" v="0"/>
        <pc:sldMkLst>
          <pc:docMk/>
          <pc:sldMk cId="94820056" sldId="2147473527"/>
        </pc:sldMkLst>
      </pc:sldChg>
    </pc:docChg>
  </pc:docChgLst>
  <pc:docChgLst>
    <pc:chgData name="Tường SKHĐT" userId="ab9568c39a88b08a" providerId="LiveId" clId="{BCAACB42-B97D-4620-8357-0C9205EAEA42}"/>
    <pc:docChg chg="undo custSel delSld modSld">
      <pc:chgData name="Tường SKHĐT" userId="ab9568c39a88b08a" providerId="LiveId" clId="{BCAACB42-B97D-4620-8357-0C9205EAEA42}" dt="2023-02-21T09:57:19.790" v="29" actId="2696"/>
      <pc:docMkLst>
        <pc:docMk/>
      </pc:docMkLst>
      <pc:sldChg chg="modSp mod">
        <pc:chgData name="Tường SKHĐT" userId="ab9568c39a88b08a" providerId="LiveId" clId="{BCAACB42-B97D-4620-8357-0C9205EAEA42}" dt="2023-02-21T09:55:13.719" v="7" actId="20577"/>
        <pc:sldMkLst>
          <pc:docMk/>
          <pc:sldMk cId="1596329165" sldId="455"/>
        </pc:sldMkLst>
        <pc:spChg chg="mod">
          <ac:chgData name="Tường SKHĐT" userId="ab9568c39a88b08a" providerId="LiveId" clId="{BCAACB42-B97D-4620-8357-0C9205EAEA42}" dt="2023-02-21T09:55:10.690" v="4" actId="20577"/>
          <ac:spMkLst>
            <pc:docMk/>
            <pc:sldMk cId="1596329165" sldId="455"/>
            <ac:spMk id="7" creationId="{E508593D-8C0D-4163-9A4A-7D6922F8A0DF}"/>
          </ac:spMkLst>
        </pc:spChg>
        <pc:spChg chg="mod">
          <ac:chgData name="Tường SKHĐT" userId="ab9568c39a88b08a" providerId="LiveId" clId="{BCAACB42-B97D-4620-8357-0C9205EAEA42}" dt="2023-02-21T09:55:13.719" v="7" actId="20577"/>
          <ac:spMkLst>
            <pc:docMk/>
            <pc:sldMk cId="1596329165" sldId="455"/>
            <ac:spMk id="27" creationId="{87251008-0654-48EC-B85B-8EA2BB576990}"/>
          </ac:spMkLst>
        </pc:spChg>
      </pc:sldChg>
      <pc:sldChg chg="modSp mod">
        <pc:chgData name="Tường SKHĐT" userId="ab9568c39a88b08a" providerId="LiveId" clId="{BCAACB42-B97D-4620-8357-0C9205EAEA42}" dt="2023-02-21T09:55:26.447" v="13" actId="20577"/>
        <pc:sldMkLst>
          <pc:docMk/>
          <pc:sldMk cId="4051799181" sldId="483"/>
        </pc:sldMkLst>
        <pc:spChg chg="mod">
          <ac:chgData name="Tường SKHĐT" userId="ab9568c39a88b08a" providerId="LiveId" clId="{BCAACB42-B97D-4620-8357-0C9205EAEA42}" dt="2023-02-21T09:55:26.447" v="13" actId="20577"/>
          <ac:spMkLst>
            <pc:docMk/>
            <pc:sldMk cId="4051799181" sldId="483"/>
            <ac:spMk id="4" creationId="{00000000-0000-0000-0000-000000000000}"/>
          </ac:spMkLst>
        </pc:spChg>
      </pc:sldChg>
      <pc:sldChg chg="modSp mod">
        <pc:chgData name="Tường SKHĐT" userId="ab9568c39a88b08a" providerId="LiveId" clId="{BCAACB42-B97D-4620-8357-0C9205EAEA42}" dt="2023-02-21T09:55:38.710" v="18" actId="20577"/>
        <pc:sldMkLst>
          <pc:docMk/>
          <pc:sldMk cId="4092993056" sldId="2147473513"/>
        </pc:sldMkLst>
        <pc:spChg chg="mod">
          <ac:chgData name="Tường SKHĐT" userId="ab9568c39a88b08a" providerId="LiveId" clId="{BCAACB42-B97D-4620-8357-0C9205EAEA42}" dt="2023-02-21T09:55:33.543" v="16" actId="20577"/>
          <ac:spMkLst>
            <pc:docMk/>
            <pc:sldMk cId="4092993056" sldId="2147473513"/>
            <ac:spMk id="4" creationId="{00000000-0000-0000-0000-000000000000}"/>
          </ac:spMkLst>
        </pc:spChg>
        <pc:graphicFrameChg chg="modGraphic">
          <ac:chgData name="Tường SKHĐT" userId="ab9568c39a88b08a" providerId="LiveId" clId="{BCAACB42-B97D-4620-8357-0C9205EAEA42}" dt="2023-02-21T09:55:38.710" v="18" actId="20577"/>
          <ac:graphicFrameMkLst>
            <pc:docMk/>
            <pc:sldMk cId="4092993056" sldId="2147473513"/>
            <ac:graphicFrameMk id="7" creationId="{44FD6820-12F5-8C73-583C-7D9F46E04367}"/>
          </ac:graphicFrameMkLst>
        </pc:graphicFrameChg>
      </pc:sldChg>
      <pc:sldChg chg="del">
        <pc:chgData name="Tường SKHĐT" userId="ab9568c39a88b08a" providerId="LiveId" clId="{BCAACB42-B97D-4620-8357-0C9205EAEA42}" dt="2023-02-21T09:57:19.790" v="29" actId="2696"/>
        <pc:sldMkLst>
          <pc:docMk/>
          <pc:sldMk cId="94820056" sldId="2147473527"/>
        </pc:sldMkLst>
      </pc:sldChg>
      <pc:sldChg chg="modSp mod">
        <pc:chgData name="Tường SKHĐT" userId="ab9568c39a88b08a" providerId="LiveId" clId="{BCAACB42-B97D-4620-8357-0C9205EAEA42}" dt="2023-02-21T09:56:43.254" v="25" actId="2084"/>
        <pc:sldMkLst>
          <pc:docMk/>
          <pc:sldMk cId="3856454999" sldId="2147473538"/>
        </pc:sldMkLst>
        <pc:graphicFrameChg chg="modGraphic">
          <ac:chgData name="Tường SKHĐT" userId="ab9568c39a88b08a" providerId="LiveId" clId="{BCAACB42-B97D-4620-8357-0C9205EAEA42}" dt="2023-02-21T09:56:43.254" v="25" actId="2084"/>
          <ac:graphicFrameMkLst>
            <pc:docMk/>
            <pc:sldMk cId="3856454999" sldId="2147473538"/>
            <ac:graphicFrameMk id="2" creationId="{EF0F5B71-CEC4-7AF5-CB0D-C7DDB9798892}"/>
          </ac:graphicFrameMkLst>
        </pc:graphicFrameChg>
      </pc:sldChg>
      <pc:sldChg chg="modSp mod">
        <pc:chgData name="Tường SKHĐT" userId="ab9568c39a88b08a" providerId="LiveId" clId="{BCAACB42-B97D-4620-8357-0C9205EAEA42}" dt="2023-02-21T09:56:31.203" v="23" actId="2084"/>
        <pc:sldMkLst>
          <pc:docMk/>
          <pc:sldMk cId="3229960194" sldId="2147473539"/>
        </pc:sldMkLst>
        <pc:graphicFrameChg chg="modGraphic">
          <ac:chgData name="Tường SKHĐT" userId="ab9568c39a88b08a" providerId="LiveId" clId="{BCAACB42-B97D-4620-8357-0C9205EAEA42}" dt="2023-02-21T09:56:31.203" v="23" actId="2084"/>
          <ac:graphicFrameMkLst>
            <pc:docMk/>
            <pc:sldMk cId="3229960194" sldId="2147473539"/>
            <ac:graphicFrameMk id="5" creationId="{94B078B5-CCF1-7EBE-C0A5-5F31DCB551BC}"/>
          </ac:graphicFrameMkLst>
        </pc:graphicFrameChg>
      </pc:sldChg>
      <pc:sldChg chg="modSp mod">
        <pc:chgData name="Tường SKHĐT" userId="ab9568c39a88b08a" providerId="LiveId" clId="{BCAACB42-B97D-4620-8357-0C9205EAEA42}" dt="2023-02-21T09:56:23.161" v="22" actId="2084"/>
        <pc:sldMkLst>
          <pc:docMk/>
          <pc:sldMk cId="3246394076" sldId="2147473540"/>
        </pc:sldMkLst>
        <pc:graphicFrameChg chg="modGraphic">
          <ac:chgData name="Tường SKHĐT" userId="ab9568c39a88b08a" providerId="LiveId" clId="{BCAACB42-B97D-4620-8357-0C9205EAEA42}" dt="2023-02-21T09:56:04.133" v="21" actId="207"/>
          <ac:graphicFrameMkLst>
            <pc:docMk/>
            <pc:sldMk cId="3246394076" sldId="2147473540"/>
            <ac:graphicFrameMk id="8" creationId="{B5E5335D-2EED-82AF-3A59-FAE8BB94EAE1}"/>
          </ac:graphicFrameMkLst>
        </pc:graphicFrameChg>
        <pc:graphicFrameChg chg="modGraphic">
          <ac:chgData name="Tường SKHĐT" userId="ab9568c39a88b08a" providerId="LiveId" clId="{BCAACB42-B97D-4620-8357-0C9205EAEA42}" dt="2023-02-21T09:56:23.161" v="22" actId="2084"/>
          <ac:graphicFrameMkLst>
            <pc:docMk/>
            <pc:sldMk cId="3246394076" sldId="2147473540"/>
            <ac:graphicFrameMk id="10" creationId="{8E7087F5-D658-8CDB-7D18-3EEA8C8807BD}"/>
          </ac:graphicFrameMkLst>
        </pc:graphicFrameChg>
      </pc:sldChg>
      <pc:sldChg chg="modSp mod">
        <pc:chgData name="Tường SKHĐT" userId="ab9568c39a88b08a" providerId="LiveId" clId="{BCAACB42-B97D-4620-8357-0C9205EAEA42}" dt="2023-02-21T09:56:37.158" v="24" actId="2084"/>
        <pc:sldMkLst>
          <pc:docMk/>
          <pc:sldMk cId="2298926727" sldId="2147473541"/>
        </pc:sldMkLst>
        <pc:graphicFrameChg chg="modGraphic">
          <ac:chgData name="Tường SKHĐT" userId="ab9568c39a88b08a" providerId="LiveId" clId="{BCAACB42-B97D-4620-8357-0C9205EAEA42}" dt="2023-02-21T09:56:37.158" v="24" actId="2084"/>
          <ac:graphicFrameMkLst>
            <pc:docMk/>
            <pc:sldMk cId="2298926727" sldId="2147473541"/>
            <ac:graphicFrameMk id="2" creationId="{26E5FE36-36E9-3652-2B4E-CA6779941E12}"/>
          </ac:graphicFrameMkLst>
        </pc:graphicFrameChg>
      </pc:sldChg>
      <pc:sldChg chg="modSp mod">
        <pc:chgData name="Tường SKHĐT" userId="ab9568c39a88b08a" providerId="LiveId" clId="{BCAACB42-B97D-4620-8357-0C9205EAEA42}" dt="2023-02-21T09:56:56.505" v="26" actId="2084"/>
        <pc:sldMkLst>
          <pc:docMk/>
          <pc:sldMk cId="1496065467" sldId="2147473542"/>
        </pc:sldMkLst>
        <pc:graphicFrameChg chg="modGraphic">
          <ac:chgData name="Tường SKHĐT" userId="ab9568c39a88b08a" providerId="LiveId" clId="{BCAACB42-B97D-4620-8357-0C9205EAEA42}" dt="2023-02-21T09:56:56.505" v="26" actId="2084"/>
          <ac:graphicFrameMkLst>
            <pc:docMk/>
            <pc:sldMk cId="1496065467" sldId="2147473542"/>
            <ac:graphicFrameMk id="2" creationId="{645F87BE-3D13-DDC2-CAB1-C8182D51AD30}"/>
          </ac:graphicFrameMkLst>
        </pc:graphicFrameChg>
      </pc:sldChg>
      <pc:sldChg chg="addSp delSp mod">
        <pc:chgData name="Tường SKHĐT" userId="ab9568c39a88b08a" providerId="LiveId" clId="{BCAACB42-B97D-4620-8357-0C9205EAEA42}" dt="2023-02-21T09:57:09.873" v="28" actId="21"/>
        <pc:sldMkLst>
          <pc:docMk/>
          <pc:sldMk cId="1893164686" sldId="2147473543"/>
        </pc:sldMkLst>
        <pc:picChg chg="add del">
          <ac:chgData name="Tường SKHĐT" userId="ab9568c39a88b08a" providerId="LiveId" clId="{BCAACB42-B97D-4620-8357-0C9205EAEA42}" dt="2023-02-21T09:57:09.873" v="28" actId="21"/>
          <ac:picMkLst>
            <pc:docMk/>
            <pc:sldMk cId="1893164686" sldId="2147473543"/>
            <ac:picMk id="6" creationId="{0D91BA1C-308B-0BF9-8A33-E2FF42C456DF}"/>
          </ac:picMkLst>
        </pc:picChg>
      </pc:sldChg>
      <pc:sldChg chg="modSp mod">
        <pc:chgData name="Tường SKHĐT" userId="ab9568c39a88b08a" providerId="LiveId" clId="{BCAACB42-B97D-4620-8357-0C9205EAEA42}" dt="2023-02-21T09:55:21.762" v="11" actId="20577"/>
        <pc:sldMkLst>
          <pc:docMk/>
          <pc:sldMk cId="3035689650" sldId="2147473547"/>
        </pc:sldMkLst>
        <pc:spChg chg="mod">
          <ac:chgData name="Tường SKHĐT" userId="ab9568c39a88b08a" providerId="LiveId" clId="{BCAACB42-B97D-4620-8357-0C9205EAEA42}" dt="2023-02-21T09:55:21.762" v="11" actId="20577"/>
          <ac:spMkLst>
            <pc:docMk/>
            <pc:sldMk cId="3035689650" sldId="2147473547"/>
            <ac:spMk id="4" creationId="{00000000-0000-0000-0000-000000000000}"/>
          </ac:spMkLst>
        </pc:spChg>
        <pc:graphicFrameChg chg="modGraphic">
          <ac:chgData name="Tường SKHĐT" userId="ab9568c39a88b08a" providerId="LiveId" clId="{BCAACB42-B97D-4620-8357-0C9205EAEA42}" dt="2023-02-21T09:55:19.519" v="9" actId="20577"/>
          <ac:graphicFrameMkLst>
            <pc:docMk/>
            <pc:sldMk cId="3035689650" sldId="2147473547"/>
            <ac:graphicFrameMk id="7" creationId="{44FD6820-12F5-8C73-583C-7D9F46E04367}"/>
          </ac:graphicFrameMkLst>
        </pc:graphicFrameChg>
      </pc:sldChg>
      <pc:sldMasterChg chg="delSldLayout">
        <pc:chgData name="Tường SKHĐT" userId="ab9568c39a88b08a" providerId="LiveId" clId="{BCAACB42-B97D-4620-8357-0C9205EAEA42}" dt="2023-02-21T09:57:19.790" v="29" actId="2696"/>
        <pc:sldMasterMkLst>
          <pc:docMk/>
          <pc:sldMasterMk cId="2420206097" sldId="2147483648"/>
        </pc:sldMasterMkLst>
        <pc:sldLayoutChg chg="del">
          <pc:chgData name="Tường SKHĐT" userId="ab9568c39a88b08a" providerId="LiveId" clId="{BCAACB42-B97D-4620-8357-0C9205EAEA42}" dt="2023-02-21T09:57:19.790" v="29" actId="2696"/>
          <pc:sldLayoutMkLst>
            <pc:docMk/>
            <pc:sldMasterMk cId="2420206097" sldId="2147483648"/>
            <pc:sldLayoutMk cId="443508434" sldId="2147483931"/>
          </pc:sldLayoutMkLst>
        </pc:sldLayoutChg>
      </pc:sldMasterChg>
    </pc:docChg>
  </pc:docChgLst>
  <pc:docChgLst>
    <pc:chgData name="Tường SKHĐT" userId="ab9568c39a88b08a" providerId="LiveId" clId="{04B915F6-82C3-461C-A009-4E83932BA335}"/>
    <pc:docChg chg="undo custSel addSld delSld modSld">
      <pc:chgData name="Tường SKHĐT" userId="ab9568c39a88b08a" providerId="LiveId" clId="{04B915F6-82C3-461C-A009-4E83932BA335}" dt="2023-02-10T10:05:34.574" v="2228" actId="1076"/>
      <pc:docMkLst>
        <pc:docMk/>
      </pc:docMkLst>
      <pc:sldChg chg="modSp mod">
        <pc:chgData name="Tường SKHĐT" userId="ab9568c39a88b08a" providerId="LiveId" clId="{04B915F6-82C3-461C-A009-4E83932BA335}" dt="2023-02-03T08:09:34.909" v="838" actId="20577"/>
        <pc:sldMkLst>
          <pc:docMk/>
          <pc:sldMk cId="1596329165" sldId="455"/>
        </pc:sldMkLst>
        <pc:spChg chg="mod">
          <ac:chgData name="Tường SKHĐT" userId="ab9568c39a88b08a" providerId="LiveId" clId="{04B915F6-82C3-461C-A009-4E83932BA335}" dt="2023-02-03T08:09:34.909" v="838" actId="20577"/>
          <ac:spMkLst>
            <pc:docMk/>
            <pc:sldMk cId="1596329165" sldId="455"/>
            <ac:spMk id="27" creationId="{87251008-0654-48EC-B85B-8EA2BB576990}"/>
          </ac:spMkLst>
        </pc:spChg>
      </pc:sldChg>
      <pc:sldChg chg="modSp mod">
        <pc:chgData name="Tường SKHĐT" userId="ab9568c39a88b08a" providerId="LiveId" clId="{04B915F6-82C3-461C-A009-4E83932BA335}" dt="2023-02-03T08:08:55.356" v="836" actId="20577"/>
        <pc:sldMkLst>
          <pc:docMk/>
          <pc:sldMk cId="348917705" sldId="482"/>
        </pc:sldMkLst>
        <pc:graphicFrameChg chg="modGraphic">
          <ac:chgData name="Tường SKHĐT" userId="ab9568c39a88b08a" providerId="LiveId" clId="{04B915F6-82C3-461C-A009-4E83932BA335}" dt="2023-02-03T08:08:55.356" v="836" actId="20577"/>
          <ac:graphicFrameMkLst>
            <pc:docMk/>
            <pc:sldMk cId="348917705" sldId="482"/>
            <ac:graphicFrameMk id="7" creationId="{44FD6820-12F5-8C73-583C-7D9F46E04367}"/>
          </ac:graphicFrameMkLst>
        </pc:graphicFrameChg>
      </pc:sldChg>
      <pc:sldChg chg="modSp mod">
        <pc:chgData name="Tường SKHĐT" userId="ab9568c39a88b08a" providerId="LiveId" clId="{04B915F6-82C3-461C-A009-4E83932BA335}" dt="2023-02-03T07:46:14.353" v="250" actId="207"/>
        <pc:sldMkLst>
          <pc:docMk/>
          <pc:sldMk cId="4051799181" sldId="483"/>
        </pc:sldMkLst>
        <pc:graphicFrameChg chg="modGraphic">
          <ac:chgData name="Tường SKHĐT" userId="ab9568c39a88b08a" providerId="LiveId" clId="{04B915F6-82C3-461C-A009-4E83932BA335}" dt="2023-02-03T07:46:14.353" v="250" actId="207"/>
          <ac:graphicFrameMkLst>
            <pc:docMk/>
            <pc:sldMk cId="4051799181" sldId="483"/>
            <ac:graphicFrameMk id="2" creationId="{E76DB986-E2D7-83CD-133B-774E10731A3B}"/>
          </ac:graphicFrameMkLst>
        </pc:graphicFrameChg>
      </pc:sldChg>
      <pc:sldChg chg="modSp mod">
        <pc:chgData name="Tường SKHĐT" userId="ab9568c39a88b08a" providerId="LiveId" clId="{04B915F6-82C3-461C-A009-4E83932BA335}" dt="2023-02-03T09:00:56.608" v="1658" actId="20577"/>
        <pc:sldMkLst>
          <pc:docMk/>
          <pc:sldMk cId="914573862" sldId="2147473474"/>
        </pc:sldMkLst>
        <pc:spChg chg="mod">
          <ac:chgData name="Tường SKHĐT" userId="ab9568c39a88b08a" providerId="LiveId" clId="{04B915F6-82C3-461C-A009-4E83932BA335}" dt="2023-02-03T09:00:56.608" v="1658" actId="20577"/>
          <ac:spMkLst>
            <pc:docMk/>
            <pc:sldMk cId="914573862" sldId="2147473474"/>
            <ac:spMk id="3" creationId="{D56CE58D-FB5F-1D10-4BAF-E7B0E8BB9294}"/>
          </ac:spMkLst>
        </pc:spChg>
        <pc:graphicFrameChg chg="mod modGraphic">
          <ac:chgData name="Tường SKHĐT" userId="ab9568c39a88b08a" providerId="LiveId" clId="{04B915F6-82C3-461C-A009-4E83932BA335}" dt="2023-02-03T08:00:05.972" v="615" actId="20577"/>
          <ac:graphicFrameMkLst>
            <pc:docMk/>
            <pc:sldMk cId="914573862" sldId="2147473474"/>
            <ac:graphicFrameMk id="2" creationId="{A091C242-D65F-E0C5-16D6-B15756DA14A6}"/>
          </ac:graphicFrameMkLst>
        </pc:graphicFrameChg>
      </pc:sldChg>
      <pc:sldChg chg="addSp delSp modSp add mod">
        <pc:chgData name="Tường SKHĐT" userId="ab9568c39a88b08a" providerId="LiveId" clId="{04B915F6-82C3-461C-A009-4E83932BA335}" dt="2023-02-10T09:21:07.711" v="1827" actId="207"/>
        <pc:sldMkLst>
          <pc:docMk/>
          <pc:sldMk cId="2493111141" sldId="2147473475"/>
        </pc:sldMkLst>
        <pc:spChg chg="add mod">
          <ac:chgData name="Tường SKHĐT" userId="ab9568c39a88b08a" providerId="LiveId" clId="{04B915F6-82C3-461C-A009-4E83932BA335}" dt="2023-02-03T09:00:22.941" v="1655"/>
          <ac:spMkLst>
            <pc:docMk/>
            <pc:sldMk cId="2493111141" sldId="2147473475"/>
            <ac:spMk id="2" creationId="{61F4234D-AA38-24F8-B7F2-39F309ECF60F}"/>
          </ac:spMkLst>
        </pc:spChg>
        <pc:spChg chg="add mod">
          <ac:chgData name="Tường SKHĐT" userId="ab9568c39a88b08a" providerId="LiveId" clId="{04B915F6-82C3-461C-A009-4E83932BA335}" dt="2023-02-03T09:00:22.941" v="1655"/>
          <ac:spMkLst>
            <pc:docMk/>
            <pc:sldMk cId="2493111141" sldId="2147473475"/>
            <ac:spMk id="4" creationId="{87E54AFD-237F-3809-5E2F-16D4370EC864}"/>
          </ac:spMkLst>
        </pc:spChg>
        <pc:spChg chg="add mod">
          <ac:chgData name="Tường SKHĐT" userId="ab9568c39a88b08a" providerId="LiveId" clId="{04B915F6-82C3-461C-A009-4E83932BA335}" dt="2023-02-10T09:21:07.711" v="1827" actId="207"/>
          <ac:spMkLst>
            <pc:docMk/>
            <pc:sldMk cId="2493111141" sldId="2147473475"/>
            <ac:spMk id="5" creationId="{8C9B5B1C-DCBB-3B0A-1820-9B971B6AC38B}"/>
          </ac:spMkLst>
        </pc:spChg>
        <pc:spChg chg="del">
          <ac:chgData name="Tường SKHĐT" userId="ab9568c39a88b08a" providerId="LiveId" clId="{04B915F6-82C3-461C-A009-4E83932BA335}" dt="2023-02-03T09:00:01.235" v="1645" actId="21"/>
          <ac:spMkLst>
            <pc:docMk/>
            <pc:sldMk cId="2493111141" sldId="2147473475"/>
            <ac:spMk id="11" creationId="{00000000-0000-0000-0000-000000000000}"/>
          </ac:spMkLst>
        </pc:spChg>
        <pc:picChg chg="del">
          <ac:chgData name="Tường SKHĐT" userId="ab9568c39a88b08a" providerId="LiveId" clId="{04B915F6-82C3-461C-A009-4E83932BA335}" dt="2023-02-03T08:58:31.216" v="1588" actId="21"/>
          <ac:picMkLst>
            <pc:docMk/>
            <pc:sldMk cId="2493111141" sldId="2147473475"/>
            <ac:picMk id="3076" creationId="{00000000-0000-0000-0000-000000000000}"/>
          </ac:picMkLst>
        </pc:picChg>
        <pc:cxnChg chg="add mod">
          <ac:chgData name="Tường SKHĐT" userId="ab9568c39a88b08a" providerId="LiveId" clId="{04B915F6-82C3-461C-A009-4E83932BA335}" dt="2023-02-03T09:00:22.941" v="1655"/>
          <ac:cxnSpMkLst>
            <pc:docMk/>
            <pc:sldMk cId="2493111141" sldId="2147473475"/>
            <ac:cxnSpMk id="3" creationId="{B1266C7B-6155-6B1F-D2AE-527DF254E05C}"/>
          </ac:cxnSpMkLst>
        </pc:cxnChg>
      </pc:sldChg>
      <pc:sldChg chg="modSp mod">
        <pc:chgData name="Tường SKHĐT" userId="ab9568c39a88b08a" providerId="LiveId" clId="{04B915F6-82C3-461C-A009-4E83932BA335}" dt="2023-02-03T09:00:58.451" v="1659" actId="20577"/>
        <pc:sldMkLst>
          <pc:docMk/>
          <pc:sldMk cId="3133831680" sldId="2147473476"/>
        </pc:sldMkLst>
        <pc:spChg chg="mod">
          <ac:chgData name="Tường SKHĐT" userId="ab9568c39a88b08a" providerId="LiveId" clId="{04B915F6-82C3-461C-A009-4E83932BA335}" dt="2023-02-03T09:00:58.451" v="1659" actId="20577"/>
          <ac:spMkLst>
            <pc:docMk/>
            <pc:sldMk cId="3133831680" sldId="2147473476"/>
            <ac:spMk id="3" creationId="{D56CE58D-FB5F-1D10-4BAF-E7B0E8BB9294}"/>
          </ac:spMkLst>
        </pc:spChg>
        <pc:graphicFrameChg chg="mod">
          <ac:chgData name="Tường SKHĐT" userId="ab9568c39a88b08a" providerId="LiveId" clId="{04B915F6-82C3-461C-A009-4E83932BA335}" dt="2023-02-03T08:02:01.946" v="674" actId="108"/>
          <ac:graphicFrameMkLst>
            <pc:docMk/>
            <pc:sldMk cId="3133831680" sldId="2147473476"/>
            <ac:graphicFrameMk id="2" creationId="{A091C242-D65F-E0C5-16D6-B15756DA14A6}"/>
          </ac:graphicFrameMkLst>
        </pc:graphicFrameChg>
        <pc:cxnChg chg="mod">
          <ac:chgData name="Tường SKHĐT" userId="ab9568c39a88b08a" providerId="LiveId" clId="{04B915F6-82C3-461C-A009-4E83932BA335}" dt="2023-01-30T07:14:18.218" v="15" actId="14100"/>
          <ac:cxnSpMkLst>
            <pc:docMk/>
            <pc:sldMk cId="3133831680" sldId="2147473476"/>
            <ac:cxnSpMk id="6" creationId="{AF18982B-1EB8-38FB-804F-68378B0CB0EE}"/>
          </ac:cxnSpMkLst>
        </pc:cxnChg>
      </pc:sldChg>
      <pc:sldChg chg="addSp delSp modSp add mod">
        <pc:chgData name="Tường SKHĐT" userId="ab9568c39a88b08a" providerId="LiveId" clId="{04B915F6-82C3-461C-A009-4E83932BA335}" dt="2023-02-10T09:23:46.259" v="1828"/>
        <pc:sldMkLst>
          <pc:docMk/>
          <pc:sldMk cId="3018443611" sldId="2147473483"/>
        </pc:sldMkLst>
        <pc:spChg chg="add mod">
          <ac:chgData name="Tường SKHĐT" userId="ab9568c39a88b08a" providerId="LiveId" clId="{04B915F6-82C3-461C-A009-4E83932BA335}" dt="2023-02-03T09:00:24.402" v="1656"/>
          <ac:spMkLst>
            <pc:docMk/>
            <pc:sldMk cId="3018443611" sldId="2147473483"/>
            <ac:spMk id="2" creationId="{AB6AE141-6602-ABCA-54A1-A5AF7069F944}"/>
          </ac:spMkLst>
        </pc:spChg>
        <pc:spChg chg="add mod">
          <ac:chgData name="Tường SKHĐT" userId="ab9568c39a88b08a" providerId="LiveId" clId="{04B915F6-82C3-461C-A009-4E83932BA335}" dt="2023-02-03T09:00:24.402" v="1656"/>
          <ac:spMkLst>
            <pc:docMk/>
            <pc:sldMk cId="3018443611" sldId="2147473483"/>
            <ac:spMk id="4" creationId="{099B505F-D65A-C6D0-F9D8-CA2837DD8962}"/>
          </ac:spMkLst>
        </pc:spChg>
        <pc:spChg chg="add mod">
          <ac:chgData name="Tường SKHĐT" userId="ab9568c39a88b08a" providerId="LiveId" clId="{04B915F6-82C3-461C-A009-4E83932BA335}" dt="2023-02-10T09:23:46.259" v="1828"/>
          <ac:spMkLst>
            <pc:docMk/>
            <pc:sldMk cId="3018443611" sldId="2147473483"/>
            <ac:spMk id="5" creationId="{1BB6FA3B-B86E-19C7-1065-B913A7974B58}"/>
          </ac:spMkLst>
        </pc:spChg>
        <pc:spChg chg="del">
          <ac:chgData name="Tường SKHĐT" userId="ab9568c39a88b08a" providerId="LiveId" clId="{04B915F6-82C3-461C-A009-4E83932BA335}" dt="2023-02-03T09:00:04.400" v="1646" actId="21"/>
          <ac:spMkLst>
            <pc:docMk/>
            <pc:sldMk cId="3018443611" sldId="2147473483"/>
            <ac:spMk id="11" creationId="{00000000-0000-0000-0000-000000000000}"/>
          </ac:spMkLst>
        </pc:spChg>
        <pc:picChg chg="del">
          <ac:chgData name="Tường SKHĐT" userId="ab9568c39a88b08a" providerId="LiveId" clId="{04B915F6-82C3-461C-A009-4E83932BA335}" dt="2023-02-03T08:58:32.980" v="1589" actId="21"/>
          <ac:picMkLst>
            <pc:docMk/>
            <pc:sldMk cId="3018443611" sldId="2147473483"/>
            <ac:picMk id="12290" creationId="{00000000-0000-0000-0000-000000000000}"/>
          </ac:picMkLst>
        </pc:picChg>
        <pc:cxnChg chg="add mod">
          <ac:chgData name="Tường SKHĐT" userId="ab9568c39a88b08a" providerId="LiveId" clId="{04B915F6-82C3-461C-A009-4E83932BA335}" dt="2023-02-03T09:00:24.402" v="1656"/>
          <ac:cxnSpMkLst>
            <pc:docMk/>
            <pc:sldMk cId="3018443611" sldId="2147473483"/>
            <ac:cxnSpMk id="3" creationId="{3D0D57A6-EC62-52CC-ACF6-10537F66BD40}"/>
          </ac:cxnSpMkLst>
        </pc:cxnChg>
      </pc:sldChg>
      <pc:sldChg chg="addSp delSp modSp add mod">
        <pc:chgData name="Tường SKHĐT" userId="ab9568c39a88b08a" providerId="LiveId" clId="{04B915F6-82C3-461C-A009-4E83932BA335}" dt="2023-02-10T10:04:20.648" v="2220" actId="1076"/>
        <pc:sldMkLst>
          <pc:docMk/>
          <pc:sldMk cId="133525499" sldId="2147473484"/>
        </pc:sldMkLst>
        <pc:spChg chg="add mod">
          <ac:chgData name="Tường SKHĐT" userId="ab9568c39a88b08a" providerId="LiveId" clId="{04B915F6-82C3-461C-A009-4E83932BA335}" dt="2023-02-03T09:00:25.617" v="1657"/>
          <ac:spMkLst>
            <pc:docMk/>
            <pc:sldMk cId="133525499" sldId="2147473484"/>
            <ac:spMk id="2" creationId="{CF18B5B6-CEE6-F0FB-8EA0-DB5BB76A01AA}"/>
          </ac:spMkLst>
        </pc:spChg>
        <pc:spChg chg="add mod">
          <ac:chgData name="Tường SKHĐT" userId="ab9568c39a88b08a" providerId="LiveId" clId="{04B915F6-82C3-461C-A009-4E83932BA335}" dt="2023-02-03T09:00:25.617" v="1657"/>
          <ac:spMkLst>
            <pc:docMk/>
            <pc:sldMk cId="133525499" sldId="2147473484"/>
            <ac:spMk id="4" creationId="{A55F117B-E0F3-F5D0-B64C-EF189F0477ED}"/>
          </ac:spMkLst>
        </pc:spChg>
        <pc:spChg chg="mod">
          <ac:chgData name="Tường SKHĐT" userId="ab9568c39a88b08a" providerId="LiveId" clId="{04B915F6-82C3-461C-A009-4E83932BA335}" dt="2023-02-10T10:03:52.796" v="2212" actId="14100"/>
          <ac:spMkLst>
            <pc:docMk/>
            <pc:sldMk cId="133525499" sldId="2147473484"/>
            <ac:spMk id="9" creationId="{4219F808-181B-0133-F1E0-2E11448658B7}"/>
          </ac:spMkLst>
        </pc:spChg>
        <pc:spChg chg="del">
          <ac:chgData name="Tường SKHĐT" userId="ab9568c39a88b08a" providerId="LiveId" clId="{04B915F6-82C3-461C-A009-4E83932BA335}" dt="2023-02-03T09:00:07.287" v="1647" actId="21"/>
          <ac:spMkLst>
            <pc:docMk/>
            <pc:sldMk cId="133525499" sldId="2147473484"/>
            <ac:spMk id="11" creationId="{00000000-0000-0000-0000-000000000000}"/>
          </ac:spMkLst>
        </pc:spChg>
        <pc:graphicFrameChg chg="add del mod">
          <ac:chgData name="Tường SKHĐT" userId="ab9568c39a88b08a" providerId="LiveId" clId="{04B915F6-82C3-461C-A009-4E83932BA335}" dt="2023-02-10T09:53:43.192" v="2018" actId="21"/>
          <ac:graphicFrameMkLst>
            <pc:docMk/>
            <pc:sldMk cId="133525499" sldId="2147473484"/>
            <ac:graphicFrameMk id="5" creationId="{4D3B5242-9CCF-19AA-0911-132598A298AD}"/>
          </ac:graphicFrameMkLst>
        </pc:graphicFrameChg>
        <pc:graphicFrameChg chg="add mod">
          <ac:chgData name="Tường SKHĐT" userId="ab9568c39a88b08a" providerId="LiveId" clId="{04B915F6-82C3-461C-A009-4E83932BA335}" dt="2023-02-10T10:04:20.648" v="2220" actId="1076"/>
          <ac:graphicFrameMkLst>
            <pc:docMk/>
            <pc:sldMk cId="133525499" sldId="2147473484"/>
            <ac:graphicFrameMk id="6" creationId="{130048E6-6CA2-6440-6A3E-211D690DC4B1}"/>
          </ac:graphicFrameMkLst>
        </pc:graphicFrameChg>
        <pc:picChg chg="del">
          <ac:chgData name="Tường SKHĐT" userId="ab9568c39a88b08a" providerId="LiveId" clId="{04B915F6-82C3-461C-A009-4E83932BA335}" dt="2023-02-03T08:58:34.694" v="1590" actId="21"/>
          <ac:picMkLst>
            <pc:docMk/>
            <pc:sldMk cId="133525499" sldId="2147473484"/>
            <ac:picMk id="13314" creationId="{00000000-0000-0000-0000-000000000000}"/>
          </ac:picMkLst>
        </pc:picChg>
        <pc:cxnChg chg="add mod">
          <ac:chgData name="Tường SKHĐT" userId="ab9568c39a88b08a" providerId="LiveId" clId="{04B915F6-82C3-461C-A009-4E83932BA335}" dt="2023-02-03T09:00:25.617" v="1657"/>
          <ac:cxnSpMkLst>
            <pc:docMk/>
            <pc:sldMk cId="133525499" sldId="2147473484"/>
            <ac:cxnSpMk id="3" creationId="{C2F5C2C6-25EC-77BF-0853-F8E0DC610344}"/>
          </ac:cxnSpMkLst>
        </pc:cxnChg>
      </pc:sldChg>
      <pc:sldChg chg="addSp delSp modSp add mod">
        <pc:chgData name="Tường SKHĐT" userId="ab9568c39a88b08a" providerId="LiveId" clId="{04B915F6-82C3-461C-A009-4E83932BA335}" dt="2023-02-10T09:47:30.809" v="1940" actId="20577"/>
        <pc:sldMkLst>
          <pc:docMk/>
          <pc:sldMk cId="772118328" sldId="2147473486"/>
        </pc:sldMkLst>
        <pc:spChg chg="add mod">
          <ac:chgData name="Tường SKHĐT" userId="ab9568c39a88b08a" providerId="LiveId" clId="{04B915F6-82C3-461C-A009-4E83932BA335}" dt="2023-02-10T09:46:56.706" v="1924" actId="20577"/>
          <ac:spMkLst>
            <pc:docMk/>
            <pc:sldMk cId="772118328" sldId="2147473486"/>
            <ac:spMk id="2" creationId="{5FFD96AB-6D7A-1E30-7076-E600BC75944F}"/>
          </ac:spMkLst>
        </pc:spChg>
        <pc:spChg chg="add mod">
          <ac:chgData name="Tường SKHĐT" userId="ab9568c39a88b08a" providerId="LiveId" clId="{04B915F6-82C3-461C-A009-4E83932BA335}" dt="2023-02-03T08:59:30.606" v="1638" actId="1076"/>
          <ac:spMkLst>
            <pc:docMk/>
            <pc:sldMk cId="772118328" sldId="2147473486"/>
            <ac:spMk id="4" creationId="{10BCF8F0-5725-7409-2169-D5D238673B8F}"/>
          </ac:spMkLst>
        </pc:spChg>
        <pc:spChg chg="mod">
          <ac:chgData name="Tường SKHĐT" userId="ab9568c39a88b08a" providerId="LiveId" clId="{04B915F6-82C3-461C-A009-4E83932BA335}" dt="2023-02-10T09:47:30.809" v="1940" actId="20577"/>
          <ac:spMkLst>
            <pc:docMk/>
            <pc:sldMk cId="772118328" sldId="2147473486"/>
            <ac:spMk id="9" creationId="{4219F808-181B-0133-F1E0-2E11448658B7}"/>
          </ac:spMkLst>
        </pc:spChg>
        <pc:spChg chg="del">
          <ac:chgData name="Tường SKHĐT" userId="ab9568c39a88b08a" providerId="LiveId" clId="{04B915F6-82C3-461C-A009-4E83932BA335}" dt="2023-02-03T08:59:02.666" v="1591" actId="21"/>
          <ac:spMkLst>
            <pc:docMk/>
            <pc:sldMk cId="772118328" sldId="2147473486"/>
            <ac:spMk id="11" creationId="{00000000-0000-0000-0000-000000000000}"/>
          </ac:spMkLst>
        </pc:spChg>
        <pc:graphicFrameChg chg="add del mod modGraphic">
          <ac:chgData name="Tường SKHĐT" userId="ab9568c39a88b08a" providerId="LiveId" clId="{04B915F6-82C3-461C-A009-4E83932BA335}" dt="2023-02-10T09:41:08.371" v="1873" actId="21"/>
          <ac:graphicFrameMkLst>
            <pc:docMk/>
            <pc:sldMk cId="772118328" sldId="2147473486"/>
            <ac:graphicFrameMk id="5" creationId="{13BC2314-362C-988D-CFDF-B3DBE9970A91}"/>
          </ac:graphicFrameMkLst>
        </pc:graphicFrameChg>
        <pc:graphicFrameChg chg="add del mod">
          <ac:chgData name="Tường SKHĐT" userId="ab9568c39a88b08a" providerId="LiveId" clId="{04B915F6-82C3-461C-A009-4E83932BA335}" dt="2023-02-06T03:51:14.169" v="1661" actId="21"/>
          <ac:graphicFrameMkLst>
            <pc:docMk/>
            <pc:sldMk cId="772118328" sldId="2147473486"/>
            <ac:graphicFrameMk id="5" creationId="{1801464A-747A-F144-A371-ECA03B4EC4DE}"/>
          </ac:graphicFrameMkLst>
        </pc:graphicFrameChg>
        <pc:graphicFrameChg chg="add del mod modGraphic">
          <ac:chgData name="Tường SKHĐT" userId="ab9568c39a88b08a" providerId="LiveId" clId="{04B915F6-82C3-461C-A009-4E83932BA335}" dt="2023-02-10T09:27:47.942" v="1833" actId="21"/>
          <ac:graphicFrameMkLst>
            <pc:docMk/>
            <pc:sldMk cId="772118328" sldId="2147473486"/>
            <ac:graphicFrameMk id="6" creationId="{C549E746-7025-1250-2C54-67965C047A6E}"/>
          </ac:graphicFrameMkLst>
        </pc:graphicFrameChg>
        <pc:graphicFrameChg chg="add mod modGraphic">
          <ac:chgData name="Tường SKHĐT" userId="ab9568c39a88b08a" providerId="LiveId" clId="{04B915F6-82C3-461C-A009-4E83932BA335}" dt="2023-02-10T09:45:48.237" v="1905" actId="1076"/>
          <ac:graphicFrameMkLst>
            <pc:docMk/>
            <pc:sldMk cId="772118328" sldId="2147473486"/>
            <ac:graphicFrameMk id="7" creationId="{CDF9E660-BA15-1A9A-7559-410B93B0F210}"/>
          </ac:graphicFrameMkLst>
        </pc:graphicFrameChg>
        <pc:picChg chg="del">
          <ac:chgData name="Tường SKHĐT" userId="ab9568c39a88b08a" providerId="LiveId" clId="{04B915F6-82C3-461C-A009-4E83932BA335}" dt="2023-02-03T08:57:59.734" v="1578" actId="21"/>
          <ac:picMkLst>
            <pc:docMk/>
            <pc:sldMk cId="772118328" sldId="2147473486"/>
            <ac:picMk id="6146" creationId="{00000000-0000-0000-0000-000000000000}"/>
          </ac:picMkLst>
        </pc:picChg>
        <pc:cxnChg chg="add mod">
          <ac:chgData name="Tường SKHĐT" userId="ab9568c39a88b08a" providerId="LiveId" clId="{04B915F6-82C3-461C-A009-4E83932BA335}" dt="2023-02-03T08:59:07.243" v="1592"/>
          <ac:cxnSpMkLst>
            <pc:docMk/>
            <pc:sldMk cId="772118328" sldId="2147473486"/>
            <ac:cxnSpMk id="3" creationId="{05AE2905-A244-4D3B-2451-E4A9A82AB77D}"/>
          </ac:cxnSpMkLst>
        </pc:cxnChg>
      </pc:sldChg>
      <pc:sldChg chg="addSp delSp modSp add mod">
        <pc:chgData name="Tường SKHĐT" userId="ab9568c39a88b08a" providerId="LiveId" clId="{04B915F6-82C3-461C-A009-4E83932BA335}" dt="2023-02-10T09:48:48.124" v="1963" actId="14100"/>
        <pc:sldMkLst>
          <pc:docMk/>
          <pc:sldMk cId="3807688515" sldId="2147473487"/>
        </pc:sldMkLst>
        <pc:spChg chg="add mod">
          <ac:chgData name="Tường SKHĐT" userId="ab9568c39a88b08a" providerId="LiveId" clId="{04B915F6-82C3-461C-A009-4E83932BA335}" dt="2023-02-03T09:00:14.538" v="1648"/>
          <ac:spMkLst>
            <pc:docMk/>
            <pc:sldMk cId="3807688515" sldId="2147473487"/>
            <ac:spMk id="2" creationId="{7CA2E0E7-2754-57B2-9520-165ADDA14478}"/>
          </ac:spMkLst>
        </pc:spChg>
        <pc:spChg chg="add mod">
          <ac:chgData name="Tường SKHĐT" userId="ab9568c39a88b08a" providerId="LiveId" clId="{04B915F6-82C3-461C-A009-4E83932BA335}" dt="2023-02-03T09:00:14.538" v="1648"/>
          <ac:spMkLst>
            <pc:docMk/>
            <pc:sldMk cId="3807688515" sldId="2147473487"/>
            <ac:spMk id="4" creationId="{B2CEB16A-AE45-AFCE-8D0D-218010916722}"/>
          </ac:spMkLst>
        </pc:spChg>
        <pc:spChg chg="mod">
          <ac:chgData name="Tường SKHĐT" userId="ab9568c39a88b08a" providerId="LiveId" clId="{04B915F6-82C3-461C-A009-4E83932BA335}" dt="2023-02-10T09:47:55.243" v="1948" actId="20577"/>
          <ac:spMkLst>
            <pc:docMk/>
            <pc:sldMk cId="3807688515" sldId="2147473487"/>
            <ac:spMk id="9" creationId="{4219F808-181B-0133-F1E0-2E11448658B7}"/>
          </ac:spMkLst>
        </pc:spChg>
        <pc:spChg chg="del">
          <ac:chgData name="Tường SKHĐT" userId="ab9568c39a88b08a" providerId="LiveId" clId="{04B915F6-82C3-461C-A009-4E83932BA335}" dt="2023-02-03T08:59:27.062" v="1637" actId="21"/>
          <ac:spMkLst>
            <pc:docMk/>
            <pc:sldMk cId="3807688515" sldId="2147473487"/>
            <ac:spMk id="11" creationId="{00000000-0000-0000-0000-000000000000}"/>
          </ac:spMkLst>
        </pc:spChg>
        <pc:graphicFrameChg chg="add del mod modGraphic">
          <ac:chgData name="Tường SKHĐT" userId="ab9568c39a88b08a" providerId="LiveId" clId="{04B915F6-82C3-461C-A009-4E83932BA335}" dt="2023-02-10T09:47:41.169" v="1941" actId="21"/>
          <ac:graphicFrameMkLst>
            <pc:docMk/>
            <pc:sldMk cId="3807688515" sldId="2147473487"/>
            <ac:graphicFrameMk id="5" creationId="{CDB796DE-5F11-8E5F-4B05-F4CA67C631DC}"/>
          </ac:graphicFrameMkLst>
        </pc:graphicFrameChg>
        <pc:graphicFrameChg chg="add mod modGraphic">
          <ac:chgData name="Tường SKHĐT" userId="ab9568c39a88b08a" providerId="LiveId" clId="{04B915F6-82C3-461C-A009-4E83932BA335}" dt="2023-02-10T09:48:48.124" v="1963" actId="14100"/>
          <ac:graphicFrameMkLst>
            <pc:docMk/>
            <pc:sldMk cId="3807688515" sldId="2147473487"/>
            <ac:graphicFrameMk id="6" creationId="{44EB092C-A260-9D80-935A-488C0F493EA6}"/>
          </ac:graphicFrameMkLst>
        </pc:graphicFrameChg>
        <pc:picChg chg="del">
          <ac:chgData name="Tường SKHĐT" userId="ab9568c39a88b08a" providerId="LiveId" clId="{04B915F6-82C3-461C-A009-4E83932BA335}" dt="2023-02-03T08:58:02.773" v="1579" actId="21"/>
          <ac:picMkLst>
            <pc:docMk/>
            <pc:sldMk cId="3807688515" sldId="2147473487"/>
            <ac:picMk id="4098" creationId="{00000000-0000-0000-0000-000000000000}"/>
          </ac:picMkLst>
        </pc:picChg>
        <pc:cxnChg chg="add mod">
          <ac:chgData name="Tường SKHĐT" userId="ab9568c39a88b08a" providerId="LiveId" clId="{04B915F6-82C3-461C-A009-4E83932BA335}" dt="2023-02-03T09:00:14.538" v="1648"/>
          <ac:cxnSpMkLst>
            <pc:docMk/>
            <pc:sldMk cId="3807688515" sldId="2147473487"/>
            <ac:cxnSpMk id="3" creationId="{13657BBB-898B-FDE1-DE50-AFE96E672ED0}"/>
          </ac:cxnSpMkLst>
        </pc:cxnChg>
      </pc:sldChg>
      <pc:sldChg chg="addSp delSp modSp add mod">
        <pc:chgData name="Tường SKHĐT" userId="ab9568c39a88b08a" providerId="LiveId" clId="{04B915F6-82C3-461C-A009-4E83932BA335}" dt="2023-02-10T09:54:16.570" v="2081" actId="20577"/>
        <pc:sldMkLst>
          <pc:docMk/>
          <pc:sldMk cId="1280197132" sldId="2147473488"/>
        </pc:sldMkLst>
        <pc:spChg chg="add mod">
          <ac:chgData name="Tường SKHĐT" userId="ab9568c39a88b08a" providerId="LiveId" clId="{04B915F6-82C3-461C-A009-4E83932BA335}" dt="2023-02-03T09:00:15.824" v="1649"/>
          <ac:spMkLst>
            <pc:docMk/>
            <pc:sldMk cId="1280197132" sldId="2147473488"/>
            <ac:spMk id="2" creationId="{38125336-D59C-639A-E0BC-B187DFAA77DD}"/>
          </ac:spMkLst>
        </pc:spChg>
        <pc:spChg chg="add mod">
          <ac:chgData name="Tường SKHĐT" userId="ab9568c39a88b08a" providerId="LiveId" clId="{04B915F6-82C3-461C-A009-4E83932BA335}" dt="2023-02-03T09:00:15.824" v="1649"/>
          <ac:spMkLst>
            <pc:docMk/>
            <pc:sldMk cId="1280197132" sldId="2147473488"/>
            <ac:spMk id="4" creationId="{DCE24D0B-1405-A24F-1A6B-0C4546ED2840}"/>
          </ac:spMkLst>
        </pc:spChg>
        <pc:spChg chg="add del mod">
          <ac:chgData name="Tường SKHĐT" userId="ab9568c39a88b08a" providerId="LiveId" clId="{04B915F6-82C3-461C-A009-4E83932BA335}" dt="2023-02-10T09:25:06.526" v="1830" actId="21"/>
          <ac:spMkLst>
            <pc:docMk/>
            <pc:sldMk cId="1280197132" sldId="2147473488"/>
            <ac:spMk id="5" creationId="{977C63B2-DE0F-FF0D-3BBF-EB81437DB4FB}"/>
          </ac:spMkLst>
        </pc:spChg>
        <pc:spChg chg="mod">
          <ac:chgData name="Tường SKHĐT" userId="ab9568c39a88b08a" providerId="LiveId" clId="{04B915F6-82C3-461C-A009-4E83932BA335}" dt="2023-02-10T09:50:28.099" v="1984" actId="20577"/>
          <ac:spMkLst>
            <pc:docMk/>
            <pc:sldMk cId="1280197132" sldId="2147473488"/>
            <ac:spMk id="9" creationId="{4219F808-181B-0133-F1E0-2E11448658B7}"/>
          </ac:spMkLst>
        </pc:spChg>
        <pc:spChg chg="del">
          <ac:chgData name="Tường SKHĐT" userId="ab9568c39a88b08a" providerId="LiveId" clId="{04B915F6-82C3-461C-A009-4E83932BA335}" dt="2023-02-03T08:59:38.521" v="1639" actId="21"/>
          <ac:spMkLst>
            <pc:docMk/>
            <pc:sldMk cId="1280197132" sldId="2147473488"/>
            <ac:spMk id="11" creationId="{00000000-0000-0000-0000-000000000000}"/>
          </ac:spMkLst>
        </pc:spChg>
        <pc:spChg chg="add mod">
          <ac:chgData name="Tường SKHĐT" userId="ab9568c39a88b08a" providerId="LiveId" clId="{04B915F6-82C3-461C-A009-4E83932BA335}" dt="2023-02-10T09:54:16.570" v="2081" actId="20577"/>
          <ac:spMkLst>
            <pc:docMk/>
            <pc:sldMk cId="1280197132" sldId="2147473488"/>
            <ac:spMk id="12" creationId="{F75BB7B6-6CAD-145A-0890-2D629AF08FD1}"/>
          </ac:spMkLst>
        </pc:spChg>
        <pc:graphicFrameChg chg="add del mod">
          <ac:chgData name="Tường SKHĐT" userId="ab9568c39a88b08a" providerId="LiveId" clId="{04B915F6-82C3-461C-A009-4E83932BA335}" dt="2023-02-10T09:49:34.493" v="1968" actId="21"/>
          <ac:graphicFrameMkLst>
            <pc:docMk/>
            <pc:sldMk cId="1280197132" sldId="2147473488"/>
            <ac:graphicFrameMk id="6" creationId="{0C838CA1-5040-2C77-D978-1436D5C7F3D4}"/>
          </ac:graphicFrameMkLst>
        </pc:graphicFrameChg>
        <pc:graphicFrameChg chg="add del mod modGraphic">
          <ac:chgData name="Tường SKHĐT" userId="ab9568c39a88b08a" providerId="LiveId" clId="{04B915F6-82C3-461C-A009-4E83932BA335}" dt="2023-02-10T09:50:40.523" v="1987" actId="21"/>
          <ac:graphicFrameMkLst>
            <pc:docMk/>
            <pc:sldMk cId="1280197132" sldId="2147473488"/>
            <ac:graphicFrameMk id="7" creationId="{2BAC11AB-5C7D-A933-22F7-1A5765C82441}"/>
          </ac:graphicFrameMkLst>
        </pc:graphicFrameChg>
        <pc:graphicFrameChg chg="add del mod">
          <ac:chgData name="Tường SKHĐT" userId="ab9568c39a88b08a" providerId="LiveId" clId="{04B915F6-82C3-461C-A009-4E83932BA335}" dt="2023-02-10T09:50:44.429" v="1989" actId="21"/>
          <ac:graphicFrameMkLst>
            <pc:docMk/>
            <pc:sldMk cId="1280197132" sldId="2147473488"/>
            <ac:graphicFrameMk id="10" creationId="{EB8F8201-61D4-AA3B-1D81-93DC29C30090}"/>
          </ac:graphicFrameMkLst>
        </pc:graphicFrameChg>
        <pc:graphicFrameChg chg="add mod">
          <ac:chgData name="Tường SKHĐT" userId="ab9568c39a88b08a" providerId="LiveId" clId="{04B915F6-82C3-461C-A009-4E83932BA335}" dt="2023-02-10T09:50:55.224" v="1990"/>
          <ac:graphicFrameMkLst>
            <pc:docMk/>
            <pc:sldMk cId="1280197132" sldId="2147473488"/>
            <ac:graphicFrameMk id="11" creationId="{0D9B9BE9-DB0E-C06A-4622-640659D4EF22}"/>
          </ac:graphicFrameMkLst>
        </pc:graphicFrameChg>
        <pc:picChg chg="del">
          <ac:chgData name="Tường SKHĐT" userId="ab9568c39a88b08a" providerId="LiveId" clId="{04B915F6-82C3-461C-A009-4E83932BA335}" dt="2023-02-03T08:58:05.889" v="1580" actId="21"/>
          <ac:picMkLst>
            <pc:docMk/>
            <pc:sldMk cId="1280197132" sldId="2147473488"/>
            <ac:picMk id="7171" creationId="{00000000-0000-0000-0000-000000000000}"/>
          </ac:picMkLst>
        </pc:picChg>
        <pc:cxnChg chg="add mod">
          <ac:chgData name="Tường SKHĐT" userId="ab9568c39a88b08a" providerId="LiveId" clId="{04B915F6-82C3-461C-A009-4E83932BA335}" dt="2023-02-03T09:00:15.824" v="1649"/>
          <ac:cxnSpMkLst>
            <pc:docMk/>
            <pc:sldMk cId="1280197132" sldId="2147473488"/>
            <ac:cxnSpMk id="3" creationId="{45EAD58B-275C-085E-203E-37EE2E98501D}"/>
          </ac:cxnSpMkLst>
        </pc:cxnChg>
      </pc:sldChg>
      <pc:sldChg chg="addSp delSp modSp add mod">
        <pc:chgData name="Tường SKHĐT" userId="ab9568c39a88b08a" providerId="LiveId" clId="{04B915F6-82C3-461C-A009-4E83932BA335}" dt="2023-02-10T09:51:51.031" v="2001" actId="1076"/>
        <pc:sldMkLst>
          <pc:docMk/>
          <pc:sldMk cId="2259048793" sldId="2147473489"/>
        </pc:sldMkLst>
        <pc:spChg chg="add mod">
          <ac:chgData name="Tường SKHĐT" userId="ab9568c39a88b08a" providerId="LiveId" clId="{04B915F6-82C3-461C-A009-4E83932BA335}" dt="2023-02-03T09:00:16.795" v="1650"/>
          <ac:spMkLst>
            <pc:docMk/>
            <pc:sldMk cId="2259048793" sldId="2147473489"/>
            <ac:spMk id="2" creationId="{127E9BFD-2D49-93B4-95F3-583317057A7D}"/>
          </ac:spMkLst>
        </pc:spChg>
        <pc:spChg chg="add mod">
          <ac:chgData name="Tường SKHĐT" userId="ab9568c39a88b08a" providerId="LiveId" clId="{04B915F6-82C3-461C-A009-4E83932BA335}" dt="2023-02-03T09:00:16.795" v="1650"/>
          <ac:spMkLst>
            <pc:docMk/>
            <pc:sldMk cId="2259048793" sldId="2147473489"/>
            <ac:spMk id="4" creationId="{1B58CEBA-4BD2-E4CF-A54D-967577590DE7}"/>
          </ac:spMkLst>
        </pc:spChg>
        <pc:spChg chg="mod">
          <ac:chgData name="Tường SKHĐT" userId="ab9568c39a88b08a" providerId="LiveId" clId="{04B915F6-82C3-461C-A009-4E83932BA335}" dt="2023-02-10T09:51:29.686" v="1999" actId="1076"/>
          <ac:spMkLst>
            <pc:docMk/>
            <pc:sldMk cId="2259048793" sldId="2147473489"/>
            <ac:spMk id="9" creationId="{4219F808-181B-0133-F1E0-2E11448658B7}"/>
          </ac:spMkLst>
        </pc:spChg>
        <pc:spChg chg="del">
          <ac:chgData name="Tường SKHĐT" userId="ab9568c39a88b08a" providerId="LiveId" clId="{04B915F6-82C3-461C-A009-4E83932BA335}" dt="2023-02-03T08:59:44.558" v="1640" actId="21"/>
          <ac:spMkLst>
            <pc:docMk/>
            <pc:sldMk cId="2259048793" sldId="2147473489"/>
            <ac:spMk id="11" creationId="{00000000-0000-0000-0000-000000000000}"/>
          </ac:spMkLst>
        </pc:spChg>
        <pc:graphicFrameChg chg="add del mod">
          <ac:chgData name="Tường SKHĐT" userId="ab9568c39a88b08a" providerId="LiveId" clId="{04B915F6-82C3-461C-A009-4E83932BA335}" dt="2023-02-10T09:51:19.598" v="1993" actId="21"/>
          <ac:graphicFrameMkLst>
            <pc:docMk/>
            <pc:sldMk cId="2259048793" sldId="2147473489"/>
            <ac:graphicFrameMk id="5" creationId="{ABE24494-F057-064A-DA0C-B32D02E755B1}"/>
          </ac:graphicFrameMkLst>
        </pc:graphicFrameChg>
        <pc:graphicFrameChg chg="add mod">
          <ac:chgData name="Tường SKHĐT" userId="ab9568c39a88b08a" providerId="LiveId" clId="{04B915F6-82C3-461C-A009-4E83932BA335}" dt="2023-02-10T09:51:51.031" v="2001" actId="1076"/>
          <ac:graphicFrameMkLst>
            <pc:docMk/>
            <pc:sldMk cId="2259048793" sldId="2147473489"/>
            <ac:graphicFrameMk id="6" creationId="{0A137786-A635-3CE7-DEA1-75F4977CAB68}"/>
          </ac:graphicFrameMkLst>
        </pc:graphicFrameChg>
        <pc:picChg chg="del">
          <ac:chgData name="Tường SKHĐT" userId="ab9568c39a88b08a" providerId="LiveId" clId="{04B915F6-82C3-461C-A009-4E83932BA335}" dt="2023-02-03T08:58:08.387" v="1581" actId="21"/>
          <ac:picMkLst>
            <pc:docMk/>
            <pc:sldMk cId="2259048793" sldId="2147473489"/>
            <ac:picMk id="8194" creationId="{00000000-0000-0000-0000-000000000000}"/>
          </ac:picMkLst>
        </pc:picChg>
        <pc:cxnChg chg="add mod">
          <ac:chgData name="Tường SKHĐT" userId="ab9568c39a88b08a" providerId="LiveId" clId="{04B915F6-82C3-461C-A009-4E83932BA335}" dt="2023-02-03T09:00:16.795" v="1650"/>
          <ac:cxnSpMkLst>
            <pc:docMk/>
            <pc:sldMk cId="2259048793" sldId="2147473489"/>
            <ac:cxnSpMk id="3" creationId="{A34B4EA7-1A15-2308-97D2-79716CF248CF}"/>
          </ac:cxnSpMkLst>
        </pc:cxnChg>
      </pc:sldChg>
      <pc:sldChg chg="addSp delSp modSp add mod">
        <pc:chgData name="Tường SKHĐT" userId="ab9568c39a88b08a" providerId="LiveId" clId="{04B915F6-82C3-461C-A009-4E83932BA335}" dt="2023-02-10T09:55:12.243" v="2092" actId="20577"/>
        <pc:sldMkLst>
          <pc:docMk/>
          <pc:sldMk cId="4247458584" sldId="2147473490"/>
        </pc:sldMkLst>
        <pc:spChg chg="add mod">
          <ac:chgData name="Tường SKHĐT" userId="ab9568c39a88b08a" providerId="LiveId" clId="{04B915F6-82C3-461C-A009-4E83932BA335}" dt="2023-02-03T09:00:17.897" v="1651"/>
          <ac:spMkLst>
            <pc:docMk/>
            <pc:sldMk cId="4247458584" sldId="2147473490"/>
            <ac:spMk id="2" creationId="{FE7585B3-05A8-0FFA-57A0-5D2E26FE313D}"/>
          </ac:spMkLst>
        </pc:spChg>
        <pc:spChg chg="add mod">
          <ac:chgData name="Tường SKHĐT" userId="ab9568c39a88b08a" providerId="LiveId" clId="{04B915F6-82C3-461C-A009-4E83932BA335}" dt="2023-02-03T09:00:17.897" v="1651"/>
          <ac:spMkLst>
            <pc:docMk/>
            <pc:sldMk cId="4247458584" sldId="2147473490"/>
            <ac:spMk id="4" creationId="{BEBCD07A-690F-BA36-203E-C2E9CC0B690B}"/>
          </ac:spMkLst>
        </pc:spChg>
        <pc:spChg chg="mod">
          <ac:chgData name="Tường SKHĐT" userId="ab9568c39a88b08a" providerId="LiveId" clId="{04B915F6-82C3-461C-A009-4E83932BA335}" dt="2023-02-10T09:55:12.243" v="2092" actId="20577"/>
          <ac:spMkLst>
            <pc:docMk/>
            <pc:sldMk cId="4247458584" sldId="2147473490"/>
            <ac:spMk id="9" creationId="{4219F808-181B-0133-F1E0-2E11448658B7}"/>
          </ac:spMkLst>
        </pc:spChg>
        <pc:spChg chg="del">
          <ac:chgData name="Tường SKHĐT" userId="ab9568c39a88b08a" providerId="LiveId" clId="{04B915F6-82C3-461C-A009-4E83932BA335}" dt="2023-02-03T08:59:47.612" v="1641" actId="21"/>
          <ac:spMkLst>
            <pc:docMk/>
            <pc:sldMk cId="4247458584" sldId="2147473490"/>
            <ac:spMk id="11" creationId="{00000000-0000-0000-0000-000000000000}"/>
          </ac:spMkLst>
        </pc:spChg>
        <pc:graphicFrameChg chg="add del mod">
          <ac:chgData name="Tường SKHĐT" userId="ab9568c39a88b08a" providerId="LiveId" clId="{04B915F6-82C3-461C-A009-4E83932BA335}" dt="2023-02-10T09:53:24.843" v="2014" actId="21"/>
          <ac:graphicFrameMkLst>
            <pc:docMk/>
            <pc:sldMk cId="4247458584" sldId="2147473490"/>
            <ac:graphicFrameMk id="5" creationId="{CEE060B8-0F30-8E54-86E5-C4BD310E6D51}"/>
          </ac:graphicFrameMkLst>
        </pc:graphicFrameChg>
        <pc:graphicFrameChg chg="add mod">
          <ac:chgData name="Tường SKHĐT" userId="ab9568c39a88b08a" providerId="LiveId" clId="{04B915F6-82C3-461C-A009-4E83932BA335}" dt="2023-02-10T09:54:55.593" v="2083" actId="1076"/>
          <ac:graphicFrameMkLst>
            <pc:docMk/>
            <pc:sldMk cId="4247458584" sldId="2147473490"/>
            <ac:graphicFrameMk id="6" creationId="{CD93C8CA-DA99-00EF-CB40-3CB09D71FCFC}"/>
          </ac:graphicFrameMkLst>
        </pc:graphicFrameChg>
        <pc:picChg chg="del">
          <ac:chgData name="Tường SKHĐT" userId="ab9568c39a88b08a" providerId="LiveId" clId="{04B915F6-82C3-461C-A009-4E83932BA335}" dt="2023-02-03T08:58:11.251" v="1582" actId="21"/>
          <ac:picMkLst>
            <pc:docMk/>
            <pc:sldMk cId="4247458584" sldId="2147473490"/>
            <ac:picMk id="9218" creationId="{00000000-0000-0000-0000-000000000000}"/>
          </ac:picMkLst>
        </pc:picChg>
        <pc:cxnChg chg="add mod">
          <ac:chgData name="Tường SKHĐT" userId="ab9568c39a88b08a" providerId="LiveId" clId="{04B915F6-82C3-461C-A009-4E83932BA335}" dt="2023-02-03T09:00:17.897" v="1651"/>
          <ac:cxnSpMkLst>
            <pc:docMk/>
            <pc:sldMk cId="4247458584" sldId="2147473490"/>
            <ac:cxnSpMk id="3" creationId="{45BE9C10-3A05-E13D-D5C0-D60D0F3D90E6}"/>
          </ac:cxnSpMkLst>
        </pc:cxnChg>
      </pc:sldChg>
      <pc:sldChg chg="addSp delSp modSp add del mod">
        <pc:chgData name="Tường SKHĐT" userId="ab9568c39a88b08a" providerId="LiveId" clId="{04B915F6-82C3-461C-A009-4E83932BA335}" dt="2023-02-10T09:57:05.469" v="2121" actId="1076"/>
        <pc:sldMkLst>
          <pc:docMk/>
          <pc:sldMk cId="1474800910" sldId="2147473491"/>
        </pc:sldMkLst>
        <pc:spChg chg="add mod">
          <ac:chgData name="Tường SKHĐT" userId="ab9568c39a88b08a" providerId="LiveId" clId="{04B915F6-82C3-461C-A009-4E83932BA335}" dt="2023-02-03T09:00:19.290" v="1652"/>
          <ac:spMkLst>
            <pc:docMk/>
            <pc:sldMk cId="1474800910" sldId="2147473491"/>
            <ac:spMk id="2" creationId="{8445E0A5-2DFC-20E6-D16C-4132A0CF54DD}"/>
          </ac:spMkLst>
        </pc:spChg>
        <pc:spChg chg="add mod">
          <ac:chgData name="Tường SKHĐT" userId="ab9568c39a88b08a" providerId="LiveId" clId="{04B915F6-82C3-461C-A009-4E83932BA335}" dt="2023-02-03T09:00:19.290" v="1652"/>
          <ac:spMkLst>
            <pc:docMk/>
            <pc:sldMk cId="1474800910" sldId="2147473491"/>
            <ac:spMk id="4" creationId="{02523143-21AD-A660-FD68-24786C36098B}"/>
          </ac:spMkLst>
        </pc:spChg>
        <pc:spChg chg="mod">
          <ac:chgData name="Tường SKHĐT" userId="ab9568c39a88b08a" providerId="LiveId" clId="{04B915F6-82C3-461C-A009-4E83932BA335}" dt="2023-02-10T09:57:05.469" v="2121" actId="1076"/>
          <ac:spMkLst>
            <pc:docMk/>
            <pc:sldMk cId="1474800910" sldId="2147473491"/>
            <ac:spMk id="9" creationId="{4219F808-181B-0133-F1E0-2E11448658B7}"/>
          </ac:spMkLst>
        </pc:spChg>
        <pc:spChg chg="del">
          <ac:chgData name="Tường SKHĐT" userId="ab9568c39a88b08a" providerId="LiveId" clId="{04B915F6-82C3-461C-A009-4E83932BA335}" dt="2023-02-03T08:59:51.316" v="1642" actId="21"/>
          <ac:spMkLst>
            <pc:docMk/>
            <pc:sldMk cId="1474800910" sldId="2147473491"/>
            <ac:spMk id="11" creationId="{00000000-0000-0000-0000-000000000000}"/>
          </ac:spMkLst>
        </pc:spChg>
        <pc:graphicFrameChg chg="add del mod">
          <ac:chgData name="Tường SKHĐT" userId="ab9568c39a88b08a" providerId="LiveId" clId="{04B915F6-82C3-461C-A009-4E83932BA335}" dt="2023-02-10T09:53:28.935" v="2015" actId="21"/>
          <ac:graphicFrameMkLst>
            <pc:docMk/>
            <pc:sldMk cId="1474800910" sldId="2147473491"/>
            <ac:graphicFrameMk id="5" creationId="{B19D448A-B3AA-9B28-6257-DDA8E38F9297}"/>
          </ac:graphicFrameMkLst>
        </pc:graphicFrameChg>
        <pc:graphicFrameChg chg="add mod modGraphic">
          <ac:chgData name="Tường SKHĐT" userId="ab9568c39a88b08a" providerId="LiveId" clId="{04B915F6-82C3-461C-A009-4E83932BA335}" dt="2023-02-10T09:57:02.454" v="2120" actId="1076"/>
          <ac:graphicFrameMkLst>
            <pc:docMk/>
            <pc:sldMk cId="1474800910" sldId="2147473491"/>
            <ac:graphicFrameMk id="6" creationId="{DBFCD2E3-EA63-A1FE-72E1-3617BB71AA20}"/>
          </ac:graphicFrameMkLst>
        </pc:graphicFrameChg>
        <pc:picChg chg="del">
          <ac:chgData name="Tường SKHĐT" userId="ab9568c39a88b08a" providerId="LiveId" clId="{04B915F6-82C3-461C-A009-4E83932BA335}" dt="2023-02-03T08:58:23.985" v="1585" actId="21"/>
          <ac:picMkLst>
            <pc:docMk/>
            <pc:sldMk cId="1474800910" sldId="2147473491"/>
            <ac:picMk id="10242" creationId="{00000000-0000-0000-0000-000000000000}"/>
          </ac:picMkLst>
        </pc:picChg>
        <pc:cxnChg chg="add mod">
          <ac:chgData name="Tường SKHĐT" userId="ab9568c39a88b08a" providerId="LiveId" clId="{04B915F6-82C3-461C-A009-4E83932BA335}" dt="2023-02-03T09:00:19.290" v="1652"/>
          <ac:cxnSpMkLst>
            <pc:docMk/>
            <pc:sldMk cId="1474800910" sldId="2147473491"/>
            <ac:cxnSpMk id="3" creationId="{C0507280-9C7E-5CF8-F5BF-242159622ECD}"/>
          </ac:cxnSpMkLst>
        </pc:cxnChg>
      </pc:sldChg>
      <pc:sldChg chg="addSp delSp modSp add mod">
        <pc:chgData name="Tường SKHĐT" userId="ab9568c39a88b08a" providerId="LiveId" clId="{04B915F6-82C3-461C-A009-4E83932BA335}" dt="2023-02-10T10:03:00.634" v="2194" actId="14100"/>
        <pc:sldMkLst>
          <pc:docMk/>
          <pc:sldMk cId="835953309" sldId="2147473492"/>
        </pc:sldMkLst>
        <pc:spChg chg="add mod">
          <ac:chgData name="Tường SKHĐT" userId="ab9568c39a88b08a" providerId="LiveId" clId="{04B915F6-82C3-461C-A009-4E83932BA335}" dt="2023-02-03T09:00:21.978" v="1654"/>
          <ac:spMkLst>
            <pc:docMk/>
            <pc:sldMk cId="835953309" sldId="2147473492"/>
            <ac:spMk id="2" creationId="{E9231129-C96B-B96C-CED6-98397F6C29F3}"/>
          </ac:spMkLst>
        </pc:spChg>
        <pc:spChg chg="add mod">
          <ac:chgData name="Tường SKHĐT" userId="ab9568c39a88b08a" providerId="LiveId" clId="{04B915F6-82C3-461C-A009-4E83932BA335}" dt="2023-02-03T09:00:21.978" v="1654"/>
          <ac:spMkLst>
            <pc:docMk/>
            <pc:sldMk cId="835953309" sldId="2147473492"/>
            <ac:spMk id="4" creationId="{ECF60952-8DE5-DDFF-A699-9D8035AD1109}"/>
          </ac:spMkLst>
        </pc:spChg>
        <pc:spChg chg="mod">
          <ac:chgData name="Tường SKHĐT" userId="ab9568c39a88b08a" providerId="LiveId" clId="{04B915F6-82C3-461C-A009-4E83932BA335}" dt="2023-02-10T10:02:55.743" v="2192" actId="20577"/>
          <ac:spMkLst>
            <pc:docMk/>
            <pc:sldMk cId="835953309" sldId="2147473492"/>
            <ac:spMk id="9" creationId="{4219F808-181B-0133-F1E0-2E11448658B7}"/>
          </ac:spMkLst>
        </pc:spChg>
        <pc:spChg chg="del">
          <ac:chgData name="Tường SKHĐT" userId="ab9568c39a88b08a" providerId="LiveId" clId="{04B915F6-82C3-461C-A009-4E83932BA335}" dt="2023-02-03T08:59:58.347" v="1644" actId="21"/>
          <ac:spMkLst>
            <pc:docMk/>
            <pc:sldMk cId="835953309" sldId="2147473492"/>
            <ac:spMk id="11" creationId="{00000000-0000-0000-0000-000000000000}"/>
          </ac:spMkLst>
        </pc:spChg>
        <pc:graphicFrameChg chg="add del mod">
          <ac:chgData name="Tường SKHĐT" userId="ab9568c39a88b08a" providerId="LiveId" clId="{04B915F6-82C3-461C-A009-4E83932BA335}" dt="2023-02-10T09:53:37.031" v="2017" actId="21"/>
          <ac:graphicFrameMkLst>
            <pc:docMk/>
            <pc:sldMk cId="835953309" sldId="2147473492"/>
            <ac:graphicFrameMk id="5" creationId="{61DB161D-4569-87AA-67C5-CF83E660F763}"/>
          </ac:graphicFrameMkLst>
        </pc:graphicFrameChg>
        <pc:graphicFrameChg chg="add mod modGraphic">
          <ac:chgData name="Tường SKHĐT" userId="ab9568c39a88b08a" providerId="LiveId" clId="{04B915F6-82C3-461C-A009-4E83932BA335}" dt="2023-02-10T10:03:00.634" v="2194" actId="14100"/>
          <ac:graphicFrameMkLst>
            <pc:docMk/>
            <pc:sldMk cId="835953309" sldId="2147473492"/>
            <ac:graphicFrameMk id="6" creationId="{9C5C77D1-BC76-A574-CF5E-09FF99B54550}"/>
          </ac:graphicFrameMkLst>
        </pc:graphicFrameChg>
        <pc:picChg chg="del">
          <ac:chgData name="Tường SKHĐT" userId="ab9568c39a88b08a" providerId="LiveId" clId="{04B915F6-82C3-461C-A009-4E83932BA335}" dt="2023-02-03T08:58:29.221" v="1587" actId="21"/>
          <ac:picMkLst>
            <pc:docMk/>
            <pc:sldMk cId="835953309" sldId="2147473492"/>
            <ac:picMk id="5122" creationId="{00000000-0000-0000-0000-000000000000}"/>
          </ac:picMkLst>
        </pc:picChg>
        <pc:cxnChg chg="add mod">
          <ac:chgData name="Tường SKHĐT" userId="ab9568c39a88b08a" providerId="LiveId" clId="{04B915F6-82C3-461C-A009-4E83932BA335}" dt="2023-02-03T09:00:21.978" v="1654"/>
          <ac:cxnSpMkLst>
            <pc:docMk/>
            <pc:sldMk cId="835953309" sldId="2147473492"/>
            <ac:cxnSpMk id="3" creationId="{E900E6F2-C4FF-A7E2-DDB2-ED82ACB79487}"/>
          </ac:cxnSpMkLst>
        </pc:cxnChg>
      </pc:sldChg>
      <pc:sldChg chg="addSp delSp modSp add mod">
        <pc:chgData name="Tường SKHĐT" userId="ab9568c39a88b08a" providerId="LiveId" clId="{04B915F6-82C3-461C-A009-4E83932BA335}" dt="2023-02-10T10:00:36.126" v="2165" actId="14100"/>
        <pc:sldMkLst>
          <pc:docMk/>
          <pc:sldMk cId="2797851216" sldId="2147473493"/>
        </pc:sldMkLst>
        <pc:spChg chg="add mod">
          <ac:chgData name="Tường SKHĐT" userId="ab9568c39a88b08a" providerId="LiveId" clId="{04B915F6-82C3-461C-A009-4E83932BA335}" dt="2023-02-03T09:00:20.658" v="1653"/>
          <ac:spMkLst>
            <pc:docMk/>
            <pc:sldMk cId="2797851216" sldId="2147473493"/>
            <ac:spMk id="2" creationId="{013E658F-A01E-3A3B-8485-EAF210FA7ADA}"/>
          </ac:spMkLst>
        </pc:spChg>
        <pc:spChg chg="add mod">
          <ac:chgData name="Tường SKHĐT" userId="ab9568c39a88b08a" providerId="LiveId" clId="{04B915F6-82C3-461C-A009-4E83932BA335}" dt="2023-02-03T09:00:20.658" v="1653"/>
          <ac:spMkLst>
            <pc:docMk/>
            <pc:sldMk cId="2797851216" sldId="2147473493"/>
            <ac:spMk id="4" creationId="{66884C55-D792-8E59-C322-2B0B3AA0E47C}"/>
          </ac:spMkLst>
        </pc:spChg>
        <pc:spChg chg="mod">
          <ac:chgData name="Tường SKHĐT" userId="ab9568c39a88b08a" providerId="LiveId" clId="{04B915F6-82C3-461C-A009-4E83932BA335}" dt="2023-02-10T10:00:36.126" v="2165" actId="14100"/>
          <ac:spMkLst>
            <pc:docMk/>
            <pc:sldMk cId="2797851216" sldId="2147473493"/>
            <ac:spMk id="9" creationId="{4219F808-181B-0133-F1E0-2E11448658B7}"/>
          </ac:spMkLst>
        </pc:spChg>
        <pc:spChg chg="del">
          <ac:chgData name="Tường SKHĐT" userId="ab9568c39a88b08a" providerId="LiveId" clId="{04B915F6-82C3-461C-A009-4E83932BA335}" dt="2023-02-03T08:59:55.153" v="1643" actId="21"/>
          <ac:spMkLst>
            <pc:docMk/>
            <pc:sldMk cId="2797851216" sldId="2147473493"/>
            <ac:spMk id="11" creationId="{00000000-0000-0000-0000-000000000000}"/>
          </ac:spMkLst>
        </pc:spChg>
        <pc:graphicFrameChg chg="add del mod">
          <ac:chgData name="Tường SKHĐT" userId="ab9568c39a88b08a" providerId="LiveId" clId="{04B915F6-82C3-461C-A009-4E83932BA335}" dt="2023-02-10T09:53:32.999" v="2016" actId="21"/>
          <ac:graphicFrameMkLst>
            <pc:docMk/>
            <pc:sldMk cId="2797851216" sldId="2147473493"/>
            <ac:graphicFrameMk id="5" creationId="{C3ECB0EA-C890-F0CD-28CB-C92274593DAD}"/>
          </ac:graphicFrameMkLst>
        </pc:graphicFrameChg>
        <pc:graphicFrameChg chg="add mod modGraphic">
          <ac:chgData name="Tường SKHĐT" userId="ab9568c39a88b08a" providerId="LiveId" clId="{04B915F6-82C3-461C-A009-4E83932BA335}" dt="2023-02-10T10:00:17.547" v="2152" actId="14100"/>
          <ac:graphicFrameMkLst>
            <pc:docMk/>
            <pc:sldMk cId="2797851216" sldId="2147473493"/>
            <ac:graphicFrameMk id="6" creationId="{9C1DC163-20F0-C0A7-C861-C3B47590DE73}"/>
          </ac:graphicFrameMkLst>
        </pc:graphicFrameChg>
        <pc:picChg chg="del">
          <ac:chgData name="Tường SKHĐT" userId="ab9568c39a88b08a" providerId="LiveId" clId="{04B915F6-82C3-461C-A009-4E83932BA335}" dt="2023-02-03T08:58:26.677" v="1586" actId="21"/>
          <ac:picMkLst>
            <pc:docMk/>
            <pc:sldMk cId="2797851216" sldId="2147473493"/>
            <ac:picMk id="11266" creationId="{00000000-0000-0000-0000-000000000000}"/>
          </ac:picMkLst>
        </pc:picChg>
        <pc:cxnChg chg="add mod">
          <ac:chgData name="Tường SKHĐT" userId="ab9568c39a88b08a" providerId="LiveId" clId="{04B915F6-82C3-461C-A009-4E83932BA335}" dt="2023-02-03T09:00:20.658" v="1653"/>
          <ac:cxnSpMkLst>
            <pc:docMk/>
            <pc:sldMk cId="2797851216" sldId="2147473493"/>
            <ac:cxnSpMk id="3" creationId="{947F091C-CC28-26CE-D7A0-666C73C77EA4}"/>
          </ac:cxnSpMkLst>
        </pc:cxnChg>
      </pc:sldChg>
      <pc:sldChg chg="modSp mod">
        <pc:chgData name="Tường SKHĐT" userId="ab9568c39a88b08a" providerId="LiveId" clId="{04B915F6-82C3-461C-A009-4E83932BA335}" dt="2023-02-03T07:46:22.990" v="251" actId="207"/>
        <pc:sldMkLst>
          <pc:docMk/>
          <pc:sldMk cId="4092993056" sldId="2147473513"/>
        </pc:sldMkLst>
        <pc:graphicFrameChg chg="modGraphic">
          <ac:chgData name="Tường SKHĐT" userId="ab9568c39a88b08a" providerId="LiveId" clId="{04B915F6-82C3-461C-A009-4E83932BA335}" dt="2023-02-03T07:46:22.990" v="251" actId="207"/>
          <ac:graphicFrameMkLst>
            <pc:docMk/>
            <pc:sldMk cId="4092993056" sldId="2147473513"/>
            <ac:graphicFrameMk id="7" creationId="{44FD6820-12F5-8C73-583C-7D9F46E04367}"/>
          </ac:graphicFrameMkLst>
        </pc:graphicFrameChg>
      </pc:sldChg>
      <pc:sldChg chg="addSp delSp modSp mod">
        <pc:chgData name="Tường SKHĐT" userId="ab9568c39a88b08a" providerId="LiveId" clId="{04B915F6-82C3-461C-A009-4E83932BA335}" dt="2023-02-03T08:19:06.192" v="1154" actId="1037"/>
        <pc:sldMkLst>
          <pc:docMk/>
          <pc:sldMk cId="1563031195" sldId="2147473516"/>
        </pc:sldMkLst>
        <pc:graphicFrameChg chg="mod modGraphic">
          <ac:chgData name="Tường SKHĐT" userId="ab9568c39a88b08a" providerId="LiveId" clId="{04B915F6-82C3-461C-A009-4E83932BA335}" dt="2023-02-03T08:19:06.192" v="1154" actId="1037"/>
          <ac:graphicFrameMkLst>
            <pc:docMk/>
            <pc:sldMk cId="1563031195" sldId="2147473516"/>
            <ac:graphicFrameMk id="8" creationId="{B5E5335D-2EED-82AF-3A59-FAE8BB94EAE1}"/>
          </ac:graphicFrameMkLst>
        </pc:graphicFrameChg>
        <pc:picChg chg="add mod">
          <ac:chgData name="Tường SKHĐT" userId="ab9568c39a88b08a" providerId="LiveId" clId="{04B915F6-82C3-461C-A009-4E83932BA335}" dt="2023-02-03T08:18:25.100" v="1119" actId="1076"/>
          <ac:picMkLst>
            <pc:docMk/>
            <pc:sldMk cId="1563031195" sldId="2147473516"/>
            <ac:picMk id="2" creationId="{4D464A2C-A35A-0F4C-1B21-00ECD1B61550}"/>
          </ac:picMkLst>
        </pc:picChg>
        <pc:picChg chg="add del mod">
          <ac:chgData name="Tường SKHĐT" userId="ab9568c39a88b08a" providerId="LiveId" clId="{04B915F6-82C3-461C-A009-4E83932BA335}" dt="2023-02-03T08:17:05.688" v="1109" actId="21"/>
          <ac:picMkLst>
            <pc:docMk/>
            <pc:sldMk cId="1563031195" sldId="2147473516"/>
            <ac:picMk id="5" creationId="{DC95218A-4784-8942-DFA9-211B6AA0FE73}"/>
          </ac:picMkLst>
        </pc:picChg>
        <pc:picChg chg="add mod">
          <ac:chgData name="Tường SKHĐT" userId="ab9568c39a88b08a" providerId="LiveId" clId="{04B915F6-82C3-461C-A009-4E83932BA335}" dt="2023-02-03T08:18:26.560" v="1120" actId="1076"/>
          <ac:picMkLst>
            <pc:docMk/>
            <pc:sldMk cId="1563031195" sldId="2147473516"/>
            <ac:picMk id="9" creationId="{B466986D-98F7-5ED9-EB66-B2288F820D38}"/>
          </ac:picMkLst>
        </pc:picChg>
      </pc:sldChg>
      <pc:sldChg chg="modSp mod">
        <pc:chgData name="Tường SKHĐT" userId="ab9568c39a88b08a" providerId="LiveId" clId="{04B915F6-82C3-461C-A009-4E83932BA335}" dt="2023-02-03T08:45:27.492" v="1575" actId="20577"/>
        <pc:sldMkLst>
          <pc:docMk/>
          <pc:sldMk cId="2957479116" sldId="2147473519"/>
        </pc:sldMkLst>
        <pc:graphicFrameChg chg="modGraphic">
          <ac:chgData name="Tường SKHĐT" userId="ab9568c39a88b08a" providerId="LiveId" clId="{04B915F6-82C3-461C-A009-4E83932BA335}" dt="2023-02-03T08:45:27.492" v="1575" actId="20577"/>
          <ac:graphicFrameMkLst>
            <pc:docMk/>
            <pc:sldMk cId="2957479116" sldId="2147473519"/>
            <ac:graphicFrameMk id="8" creationId="{B5E5335D-2EED-82AF-3A59-FAE8BB94EAE1}"/>
          </ac:graphicFrameMkLst>
        </pc:graphicFrameChg>
      </pc:sldChg>
      <pc:sldChg chg="modSp mod">
        <pc:chgData name="Tường SKHĐT" userId="ab9568c39a88b08a" providerId="LiveId" clId="{04B915F6-82C3-461C-A009-4E83932BA335}" dt="2023-02-03T08:56:47.074" v="1576" actId="1076"/>
        <pc:sldMkLst>
          <pc:docMk/>
          <pc:sldMk cId="848398433" sldId="2147473520"/>
        </pc:sldMkLst>
        <pc:graphicFrameChg chg="mod">
          <ac:chgData name="Tường SKHĐT" userId="ab9568c39a88b08a" providerId="LiveId" clId="{04B915F6-82C3-461C-A009-4E83932BA335}" dt="2023-02-03T08:56:47.074" v="1576" actId="1076"/>
          <ac:graphicFrameMkLst>
            <pc:docMk/>
            <pc:sldMk cId="848398433" sldId="2147473520"/>
            <ac:graphicFrameMk id="8" creationId="{B5E5335D-2EED-82AF-3A59-FAE8BB94EAE1}"/>
          </ac:graphicFrameMkLst>
        </pc:graphicFrameChg>
      </pc:sldChg>
      <pc:sldChg chg="modSp mod">
        <pc:chgData name="Tường SKHĐT" userId="ab9568c39a88b08a" providerId="LiveId" clId="{04B915F6-82C3-461C-A009-4E83932BA335}" dt="2023-02-03T08:05:57.558" v="822" actId="1035"/>
        <pc:sldMkLst>
          <pc:docMk/>
          <pc:sldMk cId="2307671257" sldId="2147473521"/>
        </pc:sldMkLst>
        <pc:spChg chg="mod">
          <ac:chgData name="Tường SKHĐT" userId="ab9568c39a88b08a" providerId="LiveId" clId="{04B915F6-82C3-461C-A009-4E83932BA335}" dt="2023-02-03T08:05:53.370" v="815" actId="1035"/>
          <ac:spMkLst>
            <pc:docMk/>
            <pc:sldMk cId="2307671257" sldId="2147473521"/>
            <ac:spMk id="25" creationId="{01DC26C3-E6F4-C27A-8624-3A65D81B6008}"/>
          </ac:spMkLst>
        </pc:spChg>
        <pc:graphicFrameChg chg="mod modGraphic">
          <ac:chgData name="Tường SKHĐT" userId="ab9568c39a88b08a" providerId="LiveId" clId="{04B915F6-82C3-461C-A009-4E83932BA335}" dt="2023-02-03T08:05:57.558" v="822" actId="1035"/>
          <ac:graphicFrameMkLst>
            <pc:docMk/>
            <pc:sldMk cId="2307671257" sldId="2147473521"/>
            <ac:graphicFrameMk id="8" creationId="{B5E5335D-2EED-82AF-3A59-FAE8BB94EAE1}"/>
          </ac:graphicFrameMkLst>
        </pc:graphicFrameChg>
      </pc:sldChg>
      <pc:sldChg chg="modSp mod">
        <pc:chgData name="Tường SKHĐT" userId="ab9568c39a88b08a" providerId="LiveId" clId="{04B915F6-82C3-461C-A009-4E83932BA335}" dt="2023-02-03T08:06:02.344" v="828" actId="1036"/>
        <pc:sldMkLst>
          <pc:docMk/>
          <pc:sldMk cId="2802465441" sldId="2147473522"/>
        </pc:sldMkLst>
        <pc:graphicFrameChg chg="mod modGraphic">
          <ac:chgData name="Tường SKHĐT" userId="ab9568c39a88b08a" providerId="LiveId" clId="{04B915F6-82C3-461C-A009-4E83932BA335}" dt="2023-02-03T08:06:02.344" v="828" actId="1036"/>
          <ac:graphicFrameMkLst>
            <pc:docMk/>
            <pc:sldMk cId="2802465441" sldId="2147473522"/>
            <ac:graphicFrameMk id="9" creationId="{0FC7DBA8-03B5-1D5D-B7A1-68AA6F62DF7E}"/>
          </ac:graphicFrameMkLst>
        </pc:graphicFrameChg>
      </pc:sldChg>
      <pc:sldChg chg="del">
        <pc:chgData name="Tường SKHĐT" userId="ab9568c39a88b08a" providerId="LiveId" clId="{04B915F6-82C3-461C-A009-4E83932BA335}" dt="2023-02-03T08:29:47.622" v="1470" actId="2696"/>
        <pc:sldMkLst>
          <pc:docMk/>
          <pc:sldMk cId="2107077082" sldId="2147473523"/>
        </pc:sldMkLst>
      </pc:sldChg>
      <pc:sldChg chg="addSp modSp mod">
        <pc:chgData name="Tường SKHĐT" userId="ab9568c39a88b08a" providerId="LiveId" clId="{04B915F6-82C3-461C-A009-4E83932BA335}" dt="2023-02-03T08:29:41.004" v="1469" actId="20577"/>
        <pc:sldMkLst>
          <pc:docMk/>
          <pc:sldMk cId="269414345" sldId="2147473528"/>
        </pc:sldMkLst>
        <pc:graphicFrameChg chg="mod modGraphic">
          <ac:chgData name="Tường SKHĐT" userId="ab9568c39a88b08a" providerId="LiveId" clId="{04B915F6-82C3-461C-A009-4E83932BA335}" dt="2023-02-03T08:29:41.004" v="1469" actId="20577"/>
          <ac:graphicFrameMkLst>
            <pc:docMk/>
            <pc:sldMk cId="269414345" sldId="2147473528"/>
            <ac:graphicFrameMk id="8" creationId="{B5E5335D-2EED-82AF-3A59-FAE8BB94EAE1}"/>
          </ac:graphicFrameMkLst>
        </pc:graphicFrameChg>
        <pc:picChg chg="add mod">
          <ac:chgData name="Tường SKHĐT" userId="ab9568c39a88b08a" providerId="LiveId" clId="{04B915F6-82C3-461C-A009-4E83932BA335}" dt="2023-02-03T08:24:42.481" v="1182" actId="14100"/>
          <ac:picMkLst>
            <pc:docMk/>
            <pc:sldMk cId="269414345" sldId="2147473528"/>
            <ac:picMk id="3" creationId="{FDA9AD67-878F-8631-AF7B-6D027FFB7EA0}"/>
          </ac:picMkLst>
        </pc:picChg>
      </pc:sldChg>
      <pc:sldChg chg="addSp delSp modSp add mod">
        <pc:chgData name="Tường SKHĐT" userId="ab9568c39a88b08a" providerId="LiveId" clId="{04B915F6-82C3-461C-A009-4E83932BA335}" dt="2023-02-03T08:22:26.042" v="1167" actId="14100"/>
        <pc:sldMkLst>
          <pc:docMk/>
          <pc:sldMk cId="3626927527" sldId="2147473529"/>
        </pc:sldMkLst>
        <pc:spChg chg="mod">
          <ac:chgData name="Tường SKHĐT" userId="ab9568c39a88b08a" providerId="LiveId" clId="{04B915F6-82C3-461C-A009-4E83932BA335}" dt="2023-02-03T08:19:33.316" v="1159" actId="20577"/>
          <ac:spMkLst>
            <pc:docMk/>
            <pc:sldMk cId="3626927527" sldId="2147473529"/>
            <ac:spMk id="25" creationId="{01DC26C3-E6F4-C27A-8624-3A65D81B6008}"/>
          </ac:spMkLst>
        </pc:spChg>
        <pc:graphicFrameChg chg="modGraphic">
          <ac:chgData name="Tường SKHĐT" userId="ab9568c39a88b08a" providerId="LiveId" clId="{04B915F6-82C3-461C-A009-4E83932BA335}" dt="2023-02-03T08:16:54.033" v="1104" actId="20577"/>
          <ac:graphicFrameMkLst>
            <pc:docMk/>
            <pc:sldMk cId="3626927527" sldId="2147473529"/>
            <ac:graphicFrameMk id="8" creationId="{B5E5335D-2EED-82AF-3A59-FAE8BB94EAE1}"/>
          </ac:graphicFrameMkLst>
        </pc:graphicFrameChg>
        <pc:picChg chg="add mod">
          <ac:chgData name="Tường SKHĐT" userId="ab9568c39a88b08a" providerId="LiveId" clId="{04B915F6-82C3-461C-A009-4E83932BA335}" dt="2023-02-03T08:17:00.296" v="1108" actId="1076"/>
          <ac:picMkLst>
            <pc:docMk/>
            <pc:sldMk cId="3626927527" sldId="2147473529"/>
            <ac:picMk id="2" creationId="{D332573F-550E-B385-BE21-241ECFBBB573}"/>
          </ac:picMkLst>
        </pc:picChg>
        <pc:picChg chg="add del mod">
          <ac:chgData name="Tường SKHĐT" userId="ab9568c39a88b08a" providerId="LiveId" clId="{04B915F6-82C3-461C-A009-4E83932BA335}" dt="2023-02-03T08:21:15.903" v="1161"/>
          <ac:picMkLst>
            <pc:docMk/>
            <pc:sldMk cId="3626927527" sldId="2147473529"/>
            <ac:picMk id="5" creationId="{FDD34609-0430-5897-69D3-481D750A2C82}"/>
          </ac:picMkLst>
        </pc:picChg>
        <pc:picChg chg="add mod">
          <ac:chgData name="Tường SKHĐT" userId="ab9568c39a88b08a" providerId="LiveId" clId="{04B915F6-82C3-461C-A009-4E83932BA335}" dt="2023-02-03T08:22:26.042" v="1167" actId="14100"/>
          <ac:picMkLst>
            <pc:docMk/>
            <pc:sldMk cId="3626927527" sldId="2147473529"/>
            <ac:picMk id="9" creationId="{2ED6FDAE-B540-11E3-282C-E003A11FADC8}"/>
          </ac:picMkLst>
        </pc:picChg>
      </pc:sldChg>
      <pc:sldChg chg="addSp delSp modSp add mod">
        <pc:chgData name="Tường SKHĐT" userId="ab9568c39a88b08a" providerId="LiveId" clId="{04B915F6-82C3-461C-A009-4E83932BA335}" dt="2023-02-10T09:47:10.437" v="1934" actId="20577"/>
        <pc:sldMkLst>
          <pc:docMk/>
          <pc:sldMk cId="3646831698" sldId="2147473530"/>
        </pc:sldMkLst>
        <pc:spChg chg="mod">
          <ac:chgData name="Tường SKHĐT" userId="ab9568c39a88b08a" providerId="LiveId" clId="{04B915F6-82C3-461C-A009-4E83932BA335}" dt="2023-02-10T09:47:10.437" v="1934" actId="20577"/>
          <ac:spMkLst>
            <pc:docMk/>
            <pc:sldMk cId="3646831698" sldId="2147473530"/>
            <ac:spMk id="9" creationId="{4219F808-181B-0133-F1E0-2E11448658B7}"/>
          </ac:spMkLst>
        </pc:spChg>
        <pc:graphicFrameChg chg="add mod">
          <ac:chgData name="Tường SKHĐT" userId="ab9568c39a88b08a" providerId="LiveId" clId="{04B915F6-82C3-461C-A009-4E83932BA335}" dt="2023-02-10T09:46:07.442" v="1907" actId="1076"/>
          <ac:graphicFrameMkLst>
            <pc:docMk/>
            <pc:sldMk cId="3646831698" sldId="2147473530"/>
            <ac:graphicFrameMk id="5" creationId="{92BC1D3D-BE5F-C86D-C9F4-7DAE02A5FD64}"/>
          </ac:graphicFrameMkLst>
        </pc:graphicFrameChg>
        <pc:graphicFrameChg chg="del">
          <ac:chgData name="Tường SKHĐT" userId="ab9568c39a88b08a" providerId="LiveId" clId="{04B915F6-82C3-461C-A009-4E83932BA335}" dt="2023-02-10T09:43:50.372" v="1877" actId="21"/>
          <ac:graphicFrameMkLst>
            <pc:docMk/>
            <pc:sldMk cId="3646831698" sldId="2147473530"/>
            <ac:graphicFrameMk id="7" creationId="{CDF9E660-BA15-1A9A-7559-410B93B0F210}"/>
          </ac:graphicFrameMkLst>
        </pc:graphicFrameChg>
      </pc:sldChg>
      <pc:sldChg chg="addSp delSp modSp add mod">
        <pc:chgData name="Tường SKHĐT" userId="ab9568c39a88b08a" providerId="LiveId" clId="{04B915F6-82C3-461C-A009-4E83932BA335}" dt="2023-02-10T09:46:43.482" v="1916" actId="14100"/>
        <pc:sldMkLst>
          <pc:docMk/>
          <pc:sldMk cId="3128358314" sldId="2147473531"/>
        </pc:sldMkLst>
        <pc:spChg chg="mod">
          <ac:chgData name="Tường SKHĐT" userId="ab9568c39a88b08a" providerId="LiveId" clId="{04B915F6-82C3-461C-A009-4E83932BA335}" dt="2023-02-10T09:46:43.482" v="1916" actId="14100"/>
          <ac:spMkLst>
            <pc:docMk/>
            <pc:sldMk cId="3128358314" sldId="2147473531"/>
            <ac:spMk id="9" creationId="{4219F808-181B-0133-F1E0-2E11448658B7}"/>
          </ac:spMkLst>
        </pc:spChg>
        <pc:graphicFrameChg chg="del">
          <ac:chgData name="Tường SKHĐT" userId="ab9568c39a88b08a" providerId="LiveId" clId="{04B915F6-82C3-461C-A009-4E83932BA335}" dt="2023-02-10T09:46:13.198" v="1909" actId="21"/>
          <ac:graphicFrameMkLst>
            <pc:docMk/>
            <pc:sldMk cId="3128358314" sldId="2147473531"/>
            <ac:graphicFrameMk id="5" creationId="{92BC1D3D-BE5F-C86D-C9F4-7DAE02A5FD64}"/>
          </ac:graphicFrameMkLst>
        </pc:graphicFrameChg>
        <pc:graphicFrameChg chg="add mod">
          <ac:chgData name="Tường SKHĐT" userId="ab9568c39a88b08a" providerId="LiveId" clId="{04B915F6-82C3-461C-A009-4E83932BA335}" dt="2023-02-10T09:46:39.466" v="1911" actId="1076"/>
          <ac:graphicFrameMkLst>
            <pc:docMk/>
            <pc:sldMk cId="3128358314" sldId="2147473531"/>
            <ac:graphicFrameMk id="6" creationId="{88A3AD12-12FE-A469-FC57-8E857FE23AC2}"/>
          </ac:graphicFrameMkLst>
        </pc:graphicFrameChg>
      </pc:sldChg>
      <pc:sldChg chg="addSp modSp add mod">
        <pc:chgData name="Tường SKHĐT" userId="ab9568c39a88b08a" providerId="LiveId" clId="{04B915F6-82C3-461C-A009-4E83932BA335}" dt="2023-02-10T09:49:12.198" v="1965" actId="1076"/>
        <pc:sldMkLst>
          <pc:docMk/>
          <pc:sldMk cId="535979438" sldId="2147473532"/>
        </pc:sldMkLst>
        <pc:spChg chg="mod">
          <ac:chgData name="Tường SKHĐT" userId="ab9568c39a88b08a" providerId="LiveId" clId="{04B915F6-82C3-461C-A009-4E83932BA335}" dt="2023-02-10T09:48:05.865" v="1954" actId="20577"/>
          <ac:spMkLst>
            <pc:docMk/>
            <pc:sldMk cId="535979438" sldId="2147473532"/>
            <ac:spMk id="9" creationId="{4219F808-181B-0133-F1E0-2E11448658B7}"/>
          </ac:spMkLst>
        </pc:spChg>
        <pc:graphicFrameChg chg="add mod">
          <ac:chgData name="Tường SKHĐT" userId="ab9568c39a88b08a" providerId="LiveId" clId="{04B915F6-82C3-461C-A009-4E83932BA335}" dt="2023-02-10T09:49:12.198" v="1965" actId="1076"/>
          <ac:graphicFrameMkLst>
            <pc:docMk/>
            <pc:sldMk cId="535979438" sldId="2147473532"/>
            <ac:graphicFrameMk id="5" creationId="{DF7AC959-7180-3A8F-443B-FEEE0D4E6BE6}"/>
          </ac:graphicFrameMkLst>
        </pc:graphicFrameChg>
      </pc:sldChg>
      <pc:sldChg chg="add del">
        <pc:chgData name="Tường SKHĐT" userId="ab9568c39a88b08a" providerId="LiveId" clId="{04B915F6-82C3-461C-A009-4E83932BA335}" dt="2023-02-10T09:47:58.119" v="1949" actId="2696"/>
        <pc:sldMkLst>
          <pc:docMk/>
          <pc:sldMk cId="2019493932" sldId="2147473532"/>
        </pc:sldMkLst>
      </pc:sldChg>
      <pc:sldChg chg="add del">
        <pc:chgData name="Tường SKHĐT" userId="ab9568c39a88b08a" providerId="LiveId" clId="{04B915F6-82C3-461C-A009-4E83932BA335}" dt="2023-02-10T09:48:01.317" v="1950" actId="2696"/>
        <pc:sldMkLst>
          <pc:docMk/>
          <pc:sldMk cId="70486280" sldId="2147473533"/>
        </pc:sldMkLst>
      </pc:sldChg>
      <pc:sldChg chg="addSp modSp add mod">
        <pc:chgData name="Tường SKHĐT" userId="ab9568c39a88b08a" providerId="LiveId" clId="{04B915F6-82C3-461C-A009-4E83932BA335}" dt="2023-02-10T09:49:27.181" v="1967" actId="1076"/>
        <pc:sldMkLst>
          <pc:docMk/>
          <pc:sldMk cId="1597647261" sldId="2147473533"/>
        </pc:sldMkLst>
        <pc:spChg chg="mod">
          <ac:chgData name="Tường SKHĐT" userId="ab9568c39a88b08a" providerId="LiveId" clId="{04B915F6-82C3-461C-A009-4E83932BA335}" dt="2023-02-10T09:48:09.256" v="1956" actId="20577"/>
          <ac:spMkLst>
            <pc:docMk/>
            <pc:sldMk cId="1597647261" sldId="2147473533"/>
            <ac:spMk id="9" creationId="{4219F808-181B-0133-F1E0-2E11448658B7}"/>
          </ac:spMkLst>
        </pc:spChg>
        <pc:graphicFrameChg chg="add mod">
          <ac:chgData name="Tường SKHĐT" userId="ab9568c39a88b08a" providerId="LiveId" clId="{04B915F6-82C3-461C-A009-4E83932BA335}" dt="2023-02-10T09:49:27.181" v="1967" actId="1076"/>
          <ac:graphicFrameMkLst>
            <pc:docMk/>
            <pc:sldMk cId="1597647261" sldId="2147473533"/>
            <ac:graphicFrameMk id="5" creationId="{AACDEBD1-75AD-1EDC-A4D0-1E54F37353E5}"/>
          </ac:graphicFrameMkLst>
        </pc:graphicFrameChg>
      </pc:sldChg>
      <pc:sldChg chg="addSp delSp modSp add mod">
        <pc:chgData name="Tường SKHĐT" userId="ab9568c39a88b08a" providerId="LiveId" clId="{04B915F6-82C3-461C-A009-4E83932BA335}" dt="2023-02-10T09:52:47.330" v="2008" actId="1076"/>
        <pc:sldMkLst>
          <pc:docMk/>
          <pc:sldMk cId="2834294815" sldId="2147473534"/>
        </pc:sldMkLst>
        <pc:spChg chg="mod">
          <ac:chgData name="Tường SKHĐT" userId="ab9568c39a88b08a" providerId="LiveId" clId="{04B915F6-82C3-461C-A009-4E83932BA335}" dt="2023-02-10T09:51:57.715" v="2005" actId="20577"/>
          <ac:spMkLst>
            <pc:docMk/>
            <pc:sldMk cId="2834294815" sldId="2147473534"/>
            <ac:spMk id="9" creationId="{4219F808-181B-0133-F1E0-2E11448658B7}"/>
          </ac:spMkLst>
        </pc:spChg>
        <pc:graphicFrameChg chg="add mod">
          <ac:chgData name="Tường SKHĐT" userId="ab9568c39a88b08a" providerId="LiveId" clId="{04B915F6-82C3-461C-A009-4E83932BA335}" dt="2023-02-10T09:52:47.330" v="2008" actId="1076"/>
          <ac:graphicFrameMkLst>
            <pc:docMk/>
            <pc:sldMk cId="2834294815" sldId="2147473534"/>
            <ac:graphicFrameMk id="5" creationId="{3CBF7AA3-C111-9B71-F491-DC793DD8AC37}"/>
          </ac:graphicFrameMkLst>
        </pc:graphicFrameChg>
        <pc:graphicFrameChg chg="del">
          <ac:chgData name="Tường SKHĐT" userId="ab9568c39a88b08a" providerId="LiveId" clId="{04B915F6-82C3-461C-A009-4E83932BA335}" dt="2023-02-10T09:52:02.481" v="2006" actId="21"/>
          <ac:graphicFrameMkLst>
            <pc:docMk/>
            <pc:sldMk cId="2834294815" sldId="2147473534"/>
            <ac:graphicFrameMk id="6" creationId="{0A137786-A635-3CE7-DEA1-75F4977CAB68}"/>
          </ac:graphicFrameMkLst>
        </pc:graphicFrameChg>
      </pc:sldChg>
      <pc:sldChg chg="modSp add del mod">
        <pc:chgData name="Tường SKHĐT" userId="ab9568c39a88b08a" providerId="LiveId" clId="{04B915F6-82C3-461C-A009-4E83932BA335}" dt="2023-02-10T09:51:14.911" v="1991" actId="2696"/>
        <pc:sldMkLst>
          <pc:docMk/>
          <pc:sldMk cId="4187792219" sldId="2147473534"/>
        </pc:sldMkLst>
        <pc:spChg chg="mod">
          <ac:chgData name="Tường SKHĐT" userId="ab9568c39a88b08a" providerId="LiveId" clId="{04B915F6-82C3-461C-A009-4E83932BA335}" dt="2023-02-10T09:49:45.900" v="1977" actId="20577"/>
          <ac:spMkLst>
            <pc:docMk/>
            <pc:sldMk cId="4187792219" sldId="2147473534"/>
            <ac:spMk id="9" creationId="{4219F808-181B-0133-F1E0-2E11448658B7}"/>
          </ac:spMkLst>
        </pc:spChg>
      </pc:sldChg>
      <pc:sldChg chg="modSp add del mod">
        <pc:chgData name="Tường SKHĐT" userId="ab9568c39a88b08a" providerId="LiveId" clId="{04B915F6-82C3-461C-A009-4E83932BA335}" dt="2023-02-10T09:51:17.067" v="1992" actId="2696"/>
        <pc:sldMkLst>
          <pc:docMk/>
          <pc:sldMk cId="963358054" sldId="2147473535"/>
        </pc:sldMkLst>
        <pc:spChg chg="mod">
          <ac:chgData name="Tường SKHĐT" userId="ab9568c39a88b08a" providerId="LiveId" clId="{04B915F6-82C3-461C-A009-4E83932BA335}" dt="2023-02-10T09:49:49.573" v="1979" actId="20577"/>
          <ac:spMkLst>
            <pc:docMk/>
            <pc:sldMk cId="963358054" sldId="2147473535"/>
            <ac:spMk id="9" creationId="{4219F808-181B-0133-F1E0-2E11448658B7}"/>
          </ac:spMkLst>
        </pc:spChg>
      </pc:sldChg>
      <pc:sldChg chg="addSp delSp modSp add mod">
        <pc:chgData name="Tường SKHĐT" userId="ab9568c39a88b08a" providerId="LiveId" clId="{04B915F6-82C3-461C-A009-4E83932BA335}" dt="2023-02-10T09:53:18.015" v="2013" actId="1076"/>
        <pc:sldMkLst>
          <pc:docMk/>
          <pc:sldMk cId="4264056332" sldId="2147473535"/>
        </pc:sldMkLst>
        <pc:spChg chg="mod">
          <ac:chgData name="Tường SKHĐT" userId="ab9568c39a88b08a" providerId="LiveId" clId="{04B915F6-82C3-461C-A009-4E83932BA335}" dt="2023-02-10T09:52:54.751" v="2010" actId="20577"/>
          <ac:spMkLst>
            <pc:docMk/>
            <pc:sldMk cId="4264056332" sldId="2147473535"/>
            <ac:spMk id="9" creationId="{4219F808-181B-0133-F1E0-2E11448658B7}"/>
          </ac:spMkLst>
        </pc:spChg>
        <pc:graphicFrameChg chg="add mod">
          <ac:chgData name="Tường SKHĐT" userId="ab9568c39a88b08a" providerId="LiveId" clId="{04B915F6-82C3-461C-A009-4E83932BA335}" dt="2023-02-10T09:53:18.015" v="2013" actId="1076"/>
          <ac:graphicFrameMkLst>
            <pc:docMk/>
            <pc:sldMk cId="4264056332" sldId="2147473535"/>
            <ac:graphicFrameMk id="5" creationId="{0B2E82E1-22E9-3E28-33CF-4686E431242A}"/>
          </ac:graphicFrameMkLst>
        </pc:graphicFrameChg>
        <pc:graphicFrameChg chg="del">
          <ac:chgData name="Tường SKHĐT" userId="ab9568c39a88b08a" providerId="LiveId" clId="{04B915F6-82C3-461C-A009-4E83932BA335}" dt="2023-02-10T09:52:59.519" v="2011" actId="21"/>
          <ac:graphicFrameMkLst>
            <pc:docMk/>
            <pc:sldMk cId="4264056332" sldId="2147473535"/>
            <ac:graphicFrameMk id="6" creationId="{0A137786-A635-3CE7-DEA1-75F4977CAB68}"/>
          </ac:graphicFrameMkLst>
        </pc:graphicFrameChg>
      </pc:sldChg>
      <pc:sldChg chg="addSp delSp modSp add mod">
        <pc:chgData name="Tường SKHĐT" userId="ab9568c39a88b08a" providerId="LiveId" clId="{04B915F6-82C3-461C-A009-4E83932BA335}" dt="2023-02-10T09:55:49.846" v="2106" actId="1076"/>
        <pc:sldMkLst>
          <pc:docMk/>
          <pc:sldMk cId="2858792857" sldId="2147473536"/>
        </pc:sldMkLst>
        <pc:spChg chg="mod">
          <ac:chgData name="Tường SKHĐT" userId="ab9568c39a88b08a" providerId="LiveId" clId="{04B915F6-82C3-461C-A009-4E83932BA335}" dt="2023-02-10T09:55:19.400" v="2098" actId="14100"/>
          <ac:spMkLst>
            <pc:docMk/>
            <pc:sldMk cId="2858792857" sldId="2147473536"/>
            <ac:spMk id="9" creationId="{4219F808-181B-0133-F1E0-2E11448658B7}"/>
          </ac:spMkLst>
        </pc:spChg>
        <pc:graphicFrameChg chg="add mod">
          <ac:chgData name="Tường SKHĐT" userId="ab9568c39a88b08a" providerId="LiveId" clId="{04B915F6-82C3-461C-A009-4E83932BA335}" dt="2023-02-10T09:55:49.846" v="2106" actId="1076"/>
          <ac:graphicFrameMkLst>
            <pc:docMk/>
            <pc:sldMk cId="2858792857" sldId="2147473536"/>
            <ac:graphicFrameMk id="5" creationId="{7F19F213-06A4-AA04-16F3-181E2BFFACF4}"/>
          </ac:graphicFrameMkLst>
        </pc:graphicFrameChg>
        <pc:graphicFrameChg chg="del">
          <ac:chgData name="Tường SKHĐT" userId="ab9568c39a88b08a" providerId="LiveId" clId="{04B915F6-82C3-461C-A009-4E83932BA335}" dt="2023-02-10T09:55:03.070" v="2086" actId="21"/>
          <ac:graphicFrameMkLst>
            <pc:docMk/>
            <pc:sldMk cId="2858792857" sldId="2147473536"/>
            <ac:graphicFrameMk id="6" creationId="{CD93C8CA-DA99-00EF-CB40-3CB09D71FCFC}"/>
          </ac:graphicFrameMkLst>
        </pc:graphicFrameChg>
      </pc:sldChg>
      <pc:sldChg chg="addSp delSp modSp add mod">
        <pc:chgData name="Tường SKHĐT" userId="ab9568c39a88b08a" providerId="LiveId" clId="{04B915F6-82C3-461C-A009-4E83932BA335}" dt="2023-02-10T09:56:05.767" v="2108" actId="1076"/>
        <pc:sldMkLst>
          <pc:docMk/>
          <pc:sldMk cId="706973953" sldId="2147473537"/>
        </pc:sldMkLst>
        <pc:spChg chg="mod">
          <ac:chgData name="Tường SKHĐT" userId="ab9568c39a88b08a" providerId="LiveId" clId="{04B915F6-82C3-461C-A009-4E83932BA335}" dt="2023-02-10T09:55:25.666" v="2104" actId="14100"/>
          <ac:spMkLst>
            <pc:docMk/>
            <pc:sldMk cId="706973953" sldId="2147473537"/>
            <ac:spMk id="9" creationId="{4219F808-181B-0133-F1E0-2E11448658B7}"/>
          </ac:spMkLst>
        </pc:spChg>
        <pc:graphicFrameChg chg="add mod">
          <ac:chgData name="Tường SKHĐT" userId="ab9568c39a88b08a" providerId="LiveId" clId="{04B915F6-82C3-461C-A009-4E83932BA335}" dt="2023-02-10T09:56:05.767" v="2108" actId="1076"/>
          <ac:graphicFrameMkLst>
            <pc:docMk/>
            <pc:sldMk cId="706973953" sldId="2147473537"/>
            <ac:graphicFrameMk id="5" creationId="{C23D9F2E-D384-5921-0186-A54660C075E7}"/>
          </ac:graphicFrameMkLst>
        </pc:graphicFrameChg>
        <pc:graphicFrameChg chg="del">
          <ac:chgData name="Tường SKHĐT" userId="ab9568c39a88b08a" providerId="LiveId" clId="{04B915F6-82C3-461C-A009-4E83932BA335}" dt="2023-02-10T09:55:06.102" v="2087" actId="21"/>
          <ac:graphicFrameMkLst>
            <pc:docMk/>
            <pc:sldMk cId="706973953" sldId="2147473537"/>
            <ac:graphicFrameMk id="6" creationId="{CD93C8CA-DA99-00EF-CB40-3CB09D71FCFC}"/>
          </ac:graphicFrameMkLst>
        </pc:graphicFrameChg>
      </pc:sldChg>
      <pc:sldChg chg="addSp delSp modSp add mod">
        <pc:chgData name="Tường SKHĐT" userId="ab9568c39a88b08a" providerId="LiveId" clId="{04B915F6-82C3-461C-A009-4E83932BA335}" dt="2023-02-10T09:57:58.647" v="2131" actId="1076"/>
        <pc:sldMkLst>
          <pc:docMk/>
          <pc:sldMk cId="3981198296" sldId="2147473538"/>
        </pc:sldMkLst>
        <pc:spChg chg="mod">
          <ac:chgData name="Tường SKHĐT" userId="ab9568c39a88b08a" providerId="LiveId" clId="{04B915F6-82C3-461C-A009-4E83932BA335}" dt="2023-02-10T09:57:13.392" v="2125" actId="20577"/>
          <ac:spMkLst>
            <pc:docMk/>
            <pc:sldMk cId="3981198296" sldId="2147473538"/>
            <ac:spMk id="9" creationId="{4219F808-181B-0133-F1E0-2E11448658B7}"/>
          </ac:spMkLst>
        </pc:spChg>
        <pc:graphicFrameChg chg="add mod">
          <ac:chgData name="Tường SKHĐT" userId="ab9568c39a88b08a" providerId="LiveId" clId="{04B915F6-82C3-461C-A009-4E83932BA335}" dt="2023-02-10T09:57:58.647" v="2131" actId="1076"/>
          <ac:graphicFrameMkLst>
            <pc:docMk/>
            <pc:sldMk cId="3981198296" sldId="2147473538"/>
            <ac:graphicFrameMk id="5" creationId="{AA01FC00-9E69-7AF3-5AF7-3DB8D2000DEE}"/>
          </ac:graphicFrameMkLst>
        </pc:graphicFrameChg>
        <pc:graphicFrameChg chg="del">
          <ac:chgData name="Tường SKHĐT" userId="ab9568c39a88b08a" providerId="LiveId" clId="{04B915F6-82C3-461C-A009-4E83932BA335}" dt="2023-02-10T09:57:25.143" v="2129" actId="21"/>
          <ac:graphicFrameMkLst>
            <pc:docMk/>
            <pc:sldMk cId="3981198296" sldId="2147473538"/>
            <ac:graphicFrameMk id="6" creationId="{DBFCD2E3-EA63-A1FE-72E1-3617BB71AA20}"/>
          </ac:graphicFrameMkLst>
        </pc:graphicFrameChg>
      </pc:sldChg>
      <pc:sldChg chg="addSp delSp modSp add mod">
        <pc:chgData name="Tường SKHĐT" userId="ab9568c39a88b08a" providerId="LiveId" clId="{04B915F6-82C3-461C-A009-4E83932BA335}" dt="2023-02-10T09:59:30.544" v="2149" actId="14100"/>
        <pc:sldMkLst>
          <pc:docMk/>
          <pc:sldMk cId="2308607743" sldId="2147473539"/>
        </pc:sldMkLst>
        <pc:spChg chg="mod">
          <ac:chgData name="Tường SKHĐT" userId="ab9568c39a88b08a" providerId="LiveId" clId="{04B915F6-82C3-461C-A009-4E83932BA335}" dt="2023-02-10T09:57:17.017" v="2127" actId="20577"/>
          <ac:spMkLst>
            <pc:docMk/>
            <pc:sldMk cId="2308607743" sldId="2147473539"/>
            <ac:spMk id="9" creationId="{4219F808-181B-0133-F1E0-2E11448658B7}"/>
          </ac:spMkLst>
        </pc:spChg>
        <pc:graphicFrameChg chg="add del mod modGraphic">
          <ac:chgData name="Tường SKHĐT" userId="ab9568c39a88b08a" providerId="LiveId" clId="{04B915F6-82C3-461C-A009-4E83932BA335}" dt="2023-02-10T09:59:06.420" v="2146" actId="21"/>
          <ac:graphicFrameMkLst>
            <pc:docMk/>
            <pc:sldMk cId="2308607743" sldId="2147473539"/>
            <ac:graphicFrameMk id="5" creationId="{7C71F7A6-4879-CE33-F89D-04D3F0BCB72F}"/>
          </ac:graphicFrameMkLst>
        </pc:graphicFrameChg>
        <pc:graphicFrameChg chg="del">
          <ac:chgData name="Tường SKHĐT" userId="ab9568c39a88b08a" providerId="LiveId" clId="{04B915F6-82C3-461C-A009-4E83932BA335}" dt="2023-02-10T09:57:19.580" v="2128" actId="21"/>
          <ac:graphicFrameMkLst>
            <pc:docMk/>
            <pc:sldMk cId="2308607743" sldId="2147473539"/>
            <ac:graphicFrameMk id="6" creationId="{DBFCD2E3-EA63-A1FE-72E1-3617BB71AA20}"/>
          </ac:graphicFrameMkLst>
        </pc:graphicFrameChg>
        <pc:graphicFrameChg chg="add mod modGraphic">
          <ac:chgData name="Tường SKHĐT" userId="ab9568c39a88b08a" providerId="LiveId" clId="{04B915F6-82C3-461C-A009-4E83932BA335}" dt="2023-02-10T09:59:30.544" v="2149" actId="14100"/>
          <ac:graphicFrameMkLst>
            <pc:docMk/>
            <pc:sldMk cId="2308607743" sldId="2147473539"/>
            <ac:graphicFrameMk id="7" creationId="{21BD3771-12D7-0FB0-5ACB-EA07A2812909}"/>
          </ac:graphicFrameMkLst>
        </pc:graphicFrameChg>
      </pc:sldChg>
      <pc:sldChg chg="addSp delSp modSp add mod">
        <pc:chgData name="Tường SKHĐT" userId="ab9568c39a88b08a" providerId="LiveId" clId="{04B915F6-82C3-461C-A009-4E83932BA335}" dt="2023-02-10T10:02:13.304" v="2184" actId="1076"/>
        <pc:sldMkLst>
          <pc:docMk/>
          <pc:sldMk cId="2125893299" sldId="2147473540"/>
        </pc:sldMkLst>
        <pc:spChg chg="mod">
          <ac:chgData name="Tường SKHĐT" userId="ab9568c39a88b08a" providerId="LiveId" clId="{04B915F6-82C3-461C-A009-4E83932BA335}" dt="2023-02-10T10:00:29.641" v="2160" actId="20577"/>
          <ac:spMkLst>
            <pc:docMk/>
            <pc:sldMk cId="2125893299" sldId="2147473540"/>
            <ac:spMk id="9" creationId="{4219F808-181B-0133-F1E0-2E11448658B7}"/>
          </ac:spMkLst>
        </pc:spChg>
        <pc:graphicFrameChg chg="add del mod modGraphic">
          <ac:chgData name="Tường SKHĐT" userId="ab9568c39a88b08a" providerId="LiveId" clId="{04B915F6-82C3-461C-A009-4E83932BA335}" dt="2023-02-10T10:01:56.094" v="2182" actId="21"/>
          <ac:graphicFrameMkLst>
            <pc:docMk/>
            <pc:sldMk cId="2125893299" sldId="2147473540"/>
            <ac:graphicFrameMk id="5" creationId="{5B1415B1-C98D-968B-78D6-F8237C9E6286}"/>
          </ac:graphicFrameMkLst>
        </pc:graphicFrameChg>
        <pc:graphicFrameChg chg="del">
          <ac:chgData name="Tường SKHĐT" userId="ab9568c39a88b08a" providerId="LiveId" clId="{04B915F6-82C3-461C-A009-4E83932BA335}" dt="2023-02-10T10:00:40.564" v="2166" actId="21"/>
          <ac:graphicFrameMkLst>
            <pc:docMk/>
            <pc:sldMk cId="2125893299" sldId="2147473540"/>
            <ac:graphicFrameMk id="6" creationId="{9C1DC163-20F0-C0A7-C861-C3B47590DE73}"/>
          </ac:graphicFrameMkLst>
        </pc:graphicFrameChg>
        <pc:graphicFrameChg chg="add mod">
          <ac:chgData name="Tường SKHĐT" userId="ab9568c39a88b08a" providerId="LiveId" clId="{04B915F6-82C3-461C-A009-4E83932BA335}" dt="2023-02-10T10:02:13.304" v="2184" actId="1076"/>
          <ac:graphicFrameMkLst>
            <pc:docMk/>
            <pc:sldMk cId="2125893299" sldId="2147473540"/>
            <ac:graphicFrameMk id="7" creationId="{8D55D5DD-50B9-FAC9-86ED-0AC8BB04766A}"/>
          </ac:graphicFrameMkLst>
        </pc:graphicFrameChg>
      </pc:sldChg>
      <pc:sldChg chg="addSp delSp modSp add mod">
        <pc:chgData name="Tường SKHĐT" userId="ab9568c39a88b08a" providerId="LiveId" clId="{04B915F6-82C3-461C-A009-4E83932BA335}" dt="2023-02-10T10:01:46.577" v="2181" actId="1076"/>
        <pc:sldMkLst>
          <pc:docMk/>
          <pc:sldMk cId="3893894030" sldId="2147473541"/>
        </pc:sldMkLst>
        <pc:spChg chg="mod">
          <ac:chgData name="Tường SKHĐT" userId="ab9568c39a88b08a" providerId="LiveId" clId="{04B915F6-82C3-461C-A009-4E83932BA335}" dt="2023-02-10T10:01:28.209" v="2179" actId="14100"/>
          <ac:spMkLst>
            <pc:docMk/>
            <pc:sldMk cId="3893894030" sldId="2147473541"/>
            <ac:spMk id="9" creationId="{4219F808-181B-0133-F1E0-2E11448658B7}"/>
          </ac:spMkLst>
        </pc:spChg>
        <pc:graphicFrameChg chg="add mod">
          <ac:chgData name="Tường SKHĐT" userId="ab9568c39a88b08a" providerId="LiveId" clId="{04B915F6-82C3-461C-A009-4E83932BA335}" dt="2023-02-10T10:01:46.577" v="2181" actId="1076"/>
          <ac:graphicFrameMkLst>
            <pc:docMk/>
            <pc:sldMk cId="3893894030" sldId="2147473541"/>
            <ac:graphicFrameMk id="5" creationId="{F8E3C401-F5E8-2695-943C-E78AD6C3E9B4}"/>
          </ac:graphicFrameMkLst>
        </pc:graphicFrameChg>
        <pc:graphicFrameChg chg="del">
          <ac:chgData name="Tường SKHĐT" userId="ab9568c39a88b08a" providerId="LiveId" clId="{04B915F6-82C3-461C-A009-4E83932BA335}" dt="2023-02-10T10:01:23.818" v="2174" actId="21"/>
          <ac:graphicFrameMkLst>
            <pc:docMk/>
            <pc:sldMk cId="3893894030" sldId="2147473541"/>
            <ac:graphicFrameMk id="6" creationId="{9C1DC163-20F0-C0A7-C861-C3B47590DE73}"/>
          </ac:graphicFrameMkLst>
        </pc:graphicFrameChg>
      </pc:sldChg>
      <pc:sldChg chg="addSp delSp modSp add mod">
        <pc:chgData name="Tường SKHĐT" userId="ab9568c39a88b08a" providerId="LiveId" clId="{04B915F6-82C3-461C-A009-4E83932BA335}" dt="2023-02-10T10:03:29.959" v="2204" actId="1076"/>
        <pc:sldMkLst>
          <pc:docMk/>
          <pc:sldMk cId="2520302701" sldId="2147473542"/>
        </pc:sldMkLst>
        <pc:spChg chg="mod">
          <ac:chgData name="Tường SKHĐT" userId="ab9568c39a88b08a" providerId="LiveId" clId="{04B915F6-82C3-461C-A009-4E83932BA335}" dt="2023-02-10T10:03:07.889" v="2199" actId="20577"/>
          <ac:spMkLst>
            <pc:docMk/>
            <pc:sldMk cId="2520302701" sldId="2147473542"/>
            <ac:spMk id="9" creationId="{4219F808-181B-0133-F1E0-2E11448658B7}"/>
          </ac:spMkLst>
        </pc:spChg>
        <pc:graphicFrameChg chg="add mod">
          <ac:chgData name="Tường SKHĐT" userId="ab9568c39a88b08a" providerId="LiveId" clId="{04B915F6-82C3-461C-A009-4E83932BA335}" dt="2023-02-10T10:03:29.959" v="2204" actId="1076"/>
          <ac:graphicFrameMkLst>
            <pc:docMk/>
            <pc:sldMk cId="2520302701" sldId="2147473542"/>
            <ac:graphicFrameMk id="5" creationId="{210EDD9F-66D9-786F-B3A8-45ED70663B49}"/>
          </ac:graphicFrameMkLst>
        </pc:graphicFrameChg>
        <pc:graphicFrameChg chg="del">
          <ac:chgData name="Tường SKHĐT" userId="ab9568c39a88b08a" providerId="LiveId" clId="{04B915F6-82C3-461C-A009-4E83932BA335}" dt="2023-02-10T10:03:06.153" v="2197" actId="21"/>
          <ac:graphicFrameMkLst>
            <pc:docMk/>
            <pc:sldMk cId="2520302701" sldId="2147473542"/>
            <ac:graphicFrameMk id="6" creationId="{9C5C77D1-BC76-A574-CF5E-09FF99B54550}"/>
          </ac:graphicFrameMkLst>
        </pc:graphicFrameChg>
      </pc:sldChg>
      <pc:sldChg chg="addSp delSp modSp add mod">
        <pc:chgData name="Tường SKHĐT" userId="ab9568c39a88b08a" providerId="LiveId" clId="{04B915F6-82C3-461C-A009-4E83932BA335}" dt="2023-02-10T10:03:44.797" v="2206" actId="1076"/>
        <pc:sldMkLst>
          <pc:docMk/>
          <pc:sldMk cId="3642600558" sldId="2147473543"/>
        </pc:sldMkLst>
        <pc:spChg chg="mod">
          <ac:chgData name="Tường SKHĐT" userId="ab9568c39a88b08a" providerId="LiveId" clId="{04B915F6-82C3-461C-A009-4E83932BA335}" dt="2023-02-10T10:03:11.652" v="2201" actId="20577"/>
          <ac:spMkLst>
            <pc:docMk/>
            <pc:sldMk cId="3642600558" sldId="2147473543"/>
            <ac:spMk id="9" creationId="{4219F808-181B-0133-F1E0-2E11448658B7}"/>
          </ac:spMkLst>
        </pc:spChg>
        <pc:graphicFrameChg chg="add mod">
          <ac:chgData name="Tường SKHĐT" userId="ab9568c39a88b08a" providerId="LiveId" clId="{04B915F6-82C3-461C-A009-4E83932BA335}" dt="2023-02-10T10:03:44.797" v="2206" actId="1076"/>
          <ac:graphicFrameMkLst>
            <pc:docMk/>
            <pc:sldMk cId="3642600558" sldId="2147473543"/>
            <ac:graphicFrameMk id="5" creationId="{39C43D7B-A3CF-16CD-4127-EA81BC543ABE}"/>
          </ac:graphicFrameMkLst>
        </pc:graphicFrameChg>
        <pc:graphicFrameChg chg="del">
          <ac:chgData name="Tường SKHĐT" userId="ab9568c39a88b08a" providerId="LiveId" clId="{04B915F6-82C3-461C-A009-4E83932BA335}" dt="2023-02-10T10:03:13.525" v="2202" actId="21"/>
          <ac:graphicFrameMkLst>
            <pc:docMk/>
            <pc:sldMk cId="3642600558" sldId="2147473543"/>
            <ac:graphicFrameMk id="6" creationId="{9C5C77D1-BC76-A574-CF5E-09FF99B54550}"/>
          </ac:graphicFrameMkLst>
        </pc:graphicFrameChg>
      </pc:sldChg>
      <pc:sldChg chg="addSp delSp modSp add mod">
        <pc:chgData name="Tường SKHĐT" userId="ab9568c39a88b08a" providerId="LiveId" clId="{04B915F6-82C3-461C-A009-4E83932BA335}" dt="2023-02-10T10:05:15.868" v="2226" actId="1076"/>
        <pc:sldMkLst>
          <pc:docMk/>
          <pc:sldMk cId="3789364920" sldId="2147473544"/>
        </pc:sldMkLst>
        <pc:spChg chg="mod">
          <ac:chgData name="Tường SKHĐT" userId="ab9568c39a88b08a" providerId="LiveId" clId="{04B915F6-82C3-461C-A009-4E83932BA335}" dt="2023-02-10T10:03:58.015" v="2216" actId="20577"/>
          <ac:spMkLst>
            <pc:docMk/>
            <pc:sldMk cId="3789364920" sldId="2147473544"/>
            <ac:spMk id="9" creationId="{4219F808-181B-0133-F1E0-2E11448658B7}"/>
          </ac:spMkLst>
        </pc:spChg>
        <pc:graphicFrameChg chg="add del mod">
          <ac:chgData name="Tường SKHĐT" userId="ab9568c39a88b08a" providerId="LiveId" clId="{04B915F6-82C3-461C-A009-4E83932BA335}" dt="2023-02-10T10:04:41.240" v="2224"/>
          <ac:graphicFrameMkLst>
            <pc:docMk/>
            <pc:sldMk cId="3789364920" sldId="2147473544"/>
            <ac:graphicFrameMk id="5" creationId="{3D8DC38D-BF58-3E16-0EFF-96071561B899}"/>
          </ac:graphicFrameMkLst>
        </pc:graphicFrameChg>
        <pc:graphicFrameChg chg="add mod">
          <ac:chgData name="Tường SKHĐT" userId="ab9568c39a88b08a" providerId="LiveId" clId="{04B915F6-82C3-461C-A009-4E83932BA335}" dt="2023-02-10T10:05:15.868" v="2226" actId="1076"/>
          <ac:graphicFrameMkLst>
            <pc:docMk/>
            <pc:sldMk cId="3789364920" sldId="2147473544"/>
            <ac:graphicFrameMk id="6" creationId="{6C788EDB-436A-ECC3-7366-A1BB82E382D3}"/>
          </ac:graphicFrameMkLst>
        </pc:graphicFrameChg>
      </pc:sldChg>
      <pc:sldChg chg="addSp modSp add mod">
        <pc:chgData name="Tường SKHĐT" userId="ab9568c39a88b08a" providerId="LiveId" clId="{04B915F6-82C3-461C-A009-4E83932BA335}" dt="2023-02-10T10:05:34.574" v="2228" actId="1076"/>
        <pc:sldMkLst>
          <pc:docMk/>
          <pc:sldMk cId="1190189608" sldId="2147473545"/>
        </pc:sldMkLst>
        <pc:spChg chg="mod">
          <ac:chgData name="Tường SKHĐT" userId="ab9568c39a88b08a" providerId="LiveId" clId="{04B915F6-82C3-461C-A009-4E83932BA335}" dt="2023-02-10T10:04:00.906" v="2218" actId="20577"/>
          <ac:spMkLst>
            <pc:docMk/>
            <pc:sldMk cId="1190189608" sldId="2147473545"/>
            <ac:spMk id="9" creationId="{4219F808-181B-0133-F1E0-2E11448658B7}"/>
          </ac:spMkLst>
        </pc:spChg>
        <pc:graphicFrameChg chg="add mod">
          <ac:chgData name="Tường SKHĐT" userId="ab9568c39a88b08a" providerId="LiveId" clId="{04B915F6-82C3-461C-A009-4E83932BA335}" dt="2023-02-10T10:05:34.574" v="2228" actId="1076"/>
          <ac:graphicFrameMkLst>
            <pc:docMk/>
            <pc:sldMk cId="1190189608" sldId="2147473545"/>
            <ac:graphicFrameMk id="5" creationId="{E4968281-6483-8039-DFBC-4705E18C4865}"/>
          </ac:graphicFrameMkLst>
        </pc:graphicFrameChg>
      </pc:sldChg>
    </pc:docChg>
  </pc:docChgLst>
  <pc:docChgLst>
    <pc:chgData name="Tường SKHĐT" userId="ab9568c39a88b08a" providerId="LiveId" clId="{805CF0FB-80C6-433A-A325-AD1474DF2833}"/>
    <pc:docChg chg="undo custSel addSld delSld modSld">
      <pc:chgData name="Tường SKHĐT" userId="ab9568c39a88b08a" providerId="LiveId" clId="{805CF0FB-80C6-433A-A325-AD1474DF2833}" dt="2023-03-09T10:23:19.419" v="5668" actId="1076"/>
      <pc:docMkLst>
        <pc:docMk/>
      </pc:docMkLst>
      <pc:sldChg chg="delSp modSp add mod">
        <pc:chgData name="Tường SKHĐT" userId="ab9568c39a88b08a" providerId="LiveId" clId="{805CF0FB-80C6-433A-A325-AD1474DF2833}" dt="2023-03-09T09:25:53.740" v="5574" actId="1076"/>
        <pc:sldMkLst>
          <pc:docMk/>
          <pc:sldMk cId="348917705" sldId="482"/>
        </pc:sldMkLst>
        <pc:spChg chg="del mod">
          <ac:chgData name="Tường SKHĐT" userId="ab9568c39a88b08a" providerId="LiveId" clId="{805CF0FB-80C6-433A-A325-AD1474DF2833}" dt="2023-03-08T04:17:20.999" v="1181" actId="21"/>
          <ac:spMkLst>
            <pc:docMk/>
            <pc:sldMk cId="348917705" sldId="482"/>
            <ac:spMk id="3" creationId="{BCE0614A-C2BD-584E-66E6-1468750F2C5D}"/>
          </ac:spMkLst>
        </pc:spChg>
        <pc:spChg chg="mod">
          <ac:chgData name="Tường SKHĐT" userId="ab9568c39a88b08a" providerId="LiveId" clId="{805CF0FB-80C6-433A-A325-AD1474DF2833}" dt="2023-03-09T09:19:27.473" v="5182" actId="1076"/>
          <ac:spMkLst>
            <pc:docMk/>
            <pc:sldMk cId="348917705" sldId="482"/>
            <ac:spMk id="4" creationId="{00000000-0000-0000-0000-000000000000}"/>
          </ac:spMkLst>
        </pc:spChg>
        <pc:graphicFrameChg chg="mod modGraphic">
          <ac:chgData name="Tường SKHĐT" userId="ab9568c39a88b08a" providerId="LiveId" clId="{805CF0FB-80C6-433A-A325-AD1474DF2833}" dt="2023-03-09T09:25:53.740" v="5574" actId="1076"/>
          <ac:graphicFrameMkLst>
            <pc:docMk/>
            <pc:sldMk cId="348917705" sldId="482"/>
            <ac:graphicFrameMk id="2" creationId="{FBFFDBCD-49A2-B604-F9E9-B81E95DF4EB5}"/>
          </ac:graphicFrameMkLst>
        </pc:graphicFrameChg>
      </pc:sldChg>
      <pc:sldChg chg="modSp mod">
        <pc:chgData name="Tường SKHĐT" userId="ab9568c39a88b08a" providerId="LiveId" clId="{805CF0FB-80C6-433A-A325-AD1474DF2833}" dt="2023-03-09T01:58:33.474" v="3533" actId="20577"/>
        <pc:sldMkLst>
          <pc:docMk/>
          <pc:sldMk cId="4051799181" sldId="483"/>
        </pc:sldMkLst>
        <pc:spChg chg="mod">
          <ac:chgData name="Tường SKHĐT" userId="ab9568c39a88b08a" providerId="LiveId" clId="{805CF0FB-80C6-433A-A325-AD1474DF2833}" dt="2023-03-09T01:58:33.474" v="3533" actId="20577"/>
          <ac:spMkLst>
            <pc:docMk/>
            <pc:sldMk cId="4051799181" sldId="483"/>
            <ac:spMk id="4" creationId="{00000000-0000-0000-0000-000000000000}"/>
          </ac:spMkLst>
        </pc:spChg>
      </pc:sldChg>
      <pc:sldChg chg="modSp mod">
        <pc:chgData name="Tường SKHĐT" userId="ab9568c39a88b08a" providerId="LiveId" clId="{805CF0FB-80C6-433A-A325-AD1474DF2833}" dt="2023-03-09T09:27:15.302" v="5616" actId="1076"/>
        <pc:sldMkLst>
          <pc:docMk/>
          <pc:sldMk cId="3371819825" sldId="2147473466"/>
        </pc:sldMkLst>
        <pc:spChg chg="mod">
          <ac:chgData name="Tường SKHĐT" userId="ab9568c39a88b08a" providerId="LiveId" clId="{805CF0FB-80C6-433A-A325-AD1474DF2833}" dt="2023-03-09T09:27:15.302" v="5616" actId="1076"/>
          <ac:spMkLst>
            <pc:docMk/>
            <pc:sldMk cId="3371819825" sldId="2147473466"/>
            <ac:spMk id="3" creationId="{081F7088-9928-7396-D267-659762DCD728}"/>
          </ac:spMkLst>
        </pc:spChg>
      </pc:sldChg>
      <pc:sldChg chg="modSp">
        <pc:chgData name="Tường SKHĐT" userId="ab9568c39a88b08a" providerId="LiveId" clId="{805CF0FB-80C6-433A-A325-AD1474DF2833}" dt="2023-03-09T07:30:32.322" v="4432" actId="20577"/>
        <pc:sldMkLst>
          <pc:docMk/>
          <pc:sldMk cId="914573862" sldId="2147473474"/>
        </pc:sldMkLst>
        <pc:graphicFrameChg chg="mod">
          <ac:chgData name="Tường SKHĐT" userId="ab9568c39a88b08a" providerId="LiveId" clId="{805CF0FB-80C6-433A-A325-AD1474DF2833}" dt="2023-03-09T07:30:32.322" v="4432" actId="20577"/>
          <ac:graphicFrameMkLst>
            <pc:docMk/>
            <pc:sldMk cId="914573862" sldId="2147473474"/>
            <ac:graphicFrameMk id="2" creationId="{A091C242-D65F-E0C5-16D6-B15756DA14A6}"/>
          </ac:graphicFrameMkLst>
        </pc:graphicFrameChg>
      </pc:sldChg>
      <pc:sldChg chg="modSp mod">
        <pc:chgData name="Tường SKHĐT" userId="ab9568c39a88b08a" providerId="LiveId" clId="{805CF0FB-80C6-433A-A325-AD1474DF2833}" dt="2023-03-09T01:58:41.947" v="3553" actId="20577"/>
        <pc:sldMkLst>
          <pc:docMk/>
          <pc:sldMk cId="4092993056" sldId="2147473513"/>
        </pc:sldMkLst>
        <pc:spChg chg="mod">
          <ac:chgData name="Tường SKHĐT" userId="ab9568c39a88b08a" providerId="LiveId" clId="{805CF0FB-80C6-433A-A325-AD1474DF2833}" dt="2023-03-09T01:58:41.947" v="3553" actId="20577"/>
          <ac:spMkLst>
            <pc:docMk/>
            <pc:sldMk cId="4092993056" sldId="2147473513"/>
            <ac:spMk id="4" creationId="{00000000-0000-0000-0000-000000000000}"/>
          </ac:spMkLst>
        </pc:spChg>
      </pc:sldChg>
      <pc:sldChg chg="addSp delSp modSp mod">
        <pc:chgData name="Tường SKHĐT" userId="ab9568c39a88b08a" providerId="LiveId" clId="{805CF0FB-80C6-433A-A325-AD1474DF2833}" dt="2023-03-09T01:58:52.416" v="3572" actId="14100"/>
        <pc:sldMkLst>
          <pc:docMk/>
          <pc:sldMk cId="1563031195" sldId="2147473516"/>
        </pc:sldMkLst>
        <pc:spChg chg="mod">
          <ac:chgData name="Tường SKHĐT" userId="ab9568c39a88b08a" providerId="LiveId" clId="{805CF0FB-80C6-433A-A325-AD1474DF2833}" dt="2023-03-09T01:58:49.443" v="3571" actId="20577"/>
          <ac:spMkLst>
            <pc:docMk/>
            <pc:sldMk cId="1563031195" sldId="2147473516"/>
            <ac:spMk id="4" creationId="{16D24723-A233-03FF-2329-1817AB93339D}"/>
          </ac:spMkLst>
        </pc:spChg>
        <pc:picChg chg="mod">
          <ac:chgData name="Tường SKHĐT" userId="ab9568c39a88b08a" providerId="LiveId" clId="{805CF0FB-80C6-433A-A325-AD1474DF2833}" dt="2023-03-08T08:28:20.557" v="2818" actId="1076"/>
          <ac:picMkLst>
            <pc:docMk/>
            <pc:sldMk cId="1563031195" sldId="2147473516"/>
            <ac:picMk id="2" creationId="{4D464A2C-A35A-0F4C-1B21-00ECD1B61550}"/>
          </ac:picMkLst>
        </pc:picChg>
        <pc:picChg chg="add mod">
          <ac:chgData name="Tường SKHĐT" userId="ab9568c39a88b08a" providerId="LiveId" clId="{805CF0FB-80C6-433A-A325-AD1474DF2833}" dt="2023-03-08T08:28:23.443" v="2819" actId="1076"/>
          <ac:picMkLst>
            <pc:docMk/>
            <pc:sldMk cId="1563031195" sldId="2147473516"/>
            <ac:picMk id="3" creationId="{0D298A81-C78B-6568-109E-EFA8EF6DD241}"/>
          </ac:picMkLst>
        </pc:picChg>
        <pc:picChg chg="del">
          <ac:chgData name="Tường SKHĐT" userId="ab9568c39a88b08a" providerId="LiveId" clId="{805CF0FB-80C6-433A-A325-AD1474DF2833}" dt="2023-03-08T08:28:15.066" v="2816" actId="21"/>
          <ac:picMkLst>
            <pc:docMk/>
            <pc:sldMk cId="1563031195" sldId="2147473516"/>
            <ac:picMk id="9" creationId="{B466986D-98F7-5ED9-EB66-B2288F820D38}"/>
          </ac:picMkLst>
        </pc:picChg>
        <pc:cxnChg chg="mod">
          <ac:chgData name="Tường SKHĐT" userId="ab9568c39a88b08a" providerId="LiveId" clId="{805CF0FB-80C6-433A-A325-AD1474DF2833}" dt="2023-03-09T01:58:52.416" v="3572" actId="14100"/>
          <ac:cxnSpMkLst>
            <pc:docMk/>
            <pc:sldMk cId="1563031195" sldId="2147473516"/>
            <ac:cxnSpMk id="6" creationId="{FF705920-E1B4-B4D0-9EA4-A27AA5761577}"/>
          </ac:cxnSpMkLst>
        </pc:cxnChg>
      </pc:sldChg>
      <pc:sldChg chg="modSp mod">
        <pc:chgData name="Tường SKHĐT" userId="ab9568c39a88b08a" providerId="LiveId" clId="{805CF0FB-80C6-433A-A325-AD1474DF2833}" dt="2023-03-09T02:00:02.594" v="3590" actId="14100"/>
        <pc:sldMkLst>
          <pc:docMk/>
          <pc:sldMk cId="3024842976" sldId="2147473518"/>
        </pc:sldMkLst>
        <pc:spChg chg="mod">
          <ac:chgData name="Tường SKHĐT" userId="ab9568c39a88b08a" providerId="LiveId" clId="{805CF0FB-80C6-433A-A325-AD1474DF2833}" dt="2023-03-09T01:59:58.741" v="3589"/>
          <ac:spMkLst>
            <pc:docMk/>
            <pc:sldMk cId="3024842976" sldId="2147473518"/>
            <ac:spMk id="4" creationId="{16D24723-A233-03FF-2329-1817AB93339D}"/>
          </ac:spMkLst>
        </pc:spChg>
        <pc:graphicFrameChg chg="modGraphic">
          <ac:chgData name="Tường SKHĐT" userId="ab9568c39a88b08a" providerId="LiveId" clId="{805CF0FB-80C6-433A-A325-AD1474DF2833}" dt="2023-03-09T01:57:59.966" v="3493" actId="20577"/>
          <ac:graphicFrameMkLst>
            <pc:docMk/>
            <pc:sldMk cId="3024842976" sldId="2147473518"/>
            <ac:graphicFrameMk id="8" creationId="{B5E5335D-2EED-82AF-3A59-FAE8BB94EAE1}"/>
          </ac:graphicFrameMkLst>
        </pc:graphicFrameChg>
        <pc:cxnChg chg="mod">
          <ac:chgData name="Tường SKHĐT" userId="ab9568c39a88b08a" providerId="LiveId" clId="{805CF0FB-80C6-433A-A325-AD1474DF2833}" dt="2023-03-09T02:00:02.594" v="3590" actId="14100"/>
          <ac:cxnSpMkLst>
            <pc:docMk/>
            <pc:sldMk cId="3024842976" sldId="2147473518"/>
            <ac:cxnSpMk id="6" creationId="{FF705920-E1B4-B4D0-9EA4-A27AA5761577}"/>
          </ac:cxnSpMkLst>
        </pc:cxnChg>
      </pc:sldChg>
      <pc:sldChg chg="modSp mod">
        <pc:chgData name="Tường SKHĐT" userId="ab9568c39a88b08a" providerId="LiveId" clId="{805CF0FB-80C6-433A-A325-AD1474DF2833}" dt="2023-03-09T02:00:14.201" v="3592" actId="14100"/>
        <pc:sldMkLst>
          <pc:docMk/>
          <pc:sldMk cId="2957479116" sldId="2147473519"/>
        </pc:sldMkLst>
        <pc:spChg chg="mod">
          <ac:chgData name="Tường SKHĐT" userId="ab9568c39a88b08a" providerId="LiveId" clId="{805CF0FB-80C6-433A-A325-AD1474DF2833}" dt="2023-03-09T02:00:11.759" v="3591"/>
          <ac:spMkLst>
            <pc:docMk/>
            <pc:sldMk cId="2957479116" sldId="2147473519"/>
            <ac:spMk id="4" creationId="{16D24723-A233-03FF-2329-1817AB93339D}"/>
          </ac:spMkLst>
        </pc:spChg>
        <pc:graphicFrameChg chg="modGraphic">
          <ac:chgData name="Tường SKHĐT" userId="ab9568c39a88b08a" providerId="LiveId" clId="{805CF0FB-80C6-433A-A325-AD1474DF2833}" dt="2023-03-08T09:53:14.608" v="3382" actId="20577"/>
          <ac:graphicFrameMkLst>
            <pc:docMk/>
            <pc:sldMk cId="2957479116" sldId="2147473519"/>
            <ac:graphicFrameMk id="8" creationId="{B5E5335D-2EED-82AF-3A59-FAE8BB94EAE1}"/>
          </ac:graphicFrameMkLst>
        </pc:graphicFrameChg>
        <pc:cxnChg chg="mod">
          <ac:chgData name="Tường SKHĐT" userId="ab9568c39a88b08a" providerId="LiveId" clId="{805CF0FB-80C6-433A-A325-AD1474DF2833}" dt="2023-03-09T02:00:14.201" v="3592" actId="14100"/>
          <ac:cxnSpMkLst>
            <pc:docMk/>
            <pc:sldMk cId="2957479116" sldId="2147473519"/>
            <ac:cxnSpMk id="6" creationId="{FF705920-E1B4-B4D0-9EA4-A27AA5761577}"/>
          </ac:cxnSpMkLst>
        </pc:cxnChg>
      </pc:sldChg>
      <pc:sldChg chg="modSp mod">
        <pc:chgData name="Tường SKHĐT" userId="ab9568c39a88b08a" providerId="LiveId" clId="{805CF0FB-80C6-433A-A325-AD1474DF2833}" dt="2023-03-09T02:00:57.355" v="3604" actId="14100"/>
        <pc:sldMkLst>
          <pc:docMk/>
          <pc:sldMk cId="2307671257" sldId="2147473521"/>
        </pc:sldMkLst>
        <pc:spChg chg="mod">
          <ac:chgData name="Tường SKHĐT" userId="ab9568c39a88b08a" providerId="LiveId" clId="{805CF0FB-80C6-433A-A325-AD1474DF2833}" dt="2023-03-09T02:00:53.318" v="3603"/>
          <ac:spMkLst>
            <pc:docMk/>
            <pc:sldMk cId="2307671257" sldId="2147473521"/>
            <ac:spMk id="4" creationId="{16D24723-A233-03FF-2329-1817AB93339D}"/>
          </ac:spMkLst>
        </pc:spChg>
        <pc:cxnChg chg="mod">
          <ac:chgData name="Tường SKHĐT" userId="ab9568c39a88b08a" providerId="LiveId" clId="{805CF0FB-80C6-433A-A325-AD1474DF2833}" dt="2023-03-09T02:00:57.355" v="3604" actId="14100"/>
          <ac:cxnSpMkLst>
            <pc:docMk/>
            <pc:sldMk cId="2307671257" sldId="2147473521"/>
            <ac:cxnSpMk id="6" creationId="{FF705920-E1B4-B4D0-9EA4-A27AA5761577}"/>
          </ac:cxnSpMkLst>
        </pc:cxnChg>
      </pc:sldChg>
      <pc:sldChg chg="addSp modSp mod">
        <pc:chgData name="Tường SKHĐT" userId="ab9568c39a88b08a" providerId="LiveId" clId="{805CF0FB-80C6-433A-A325-AD1474DF2833}" dt="2023-03-09T02:01:03.852" v="3606" actId="14100"/>
        <pc:sldMkLst>
          <pc:docMk/>
          <pc:sldMk cId="2802465441" sldId="2147473522"/>
        </pc:sldMkLst>
        <pc:spChg chg="mod">
          <ac:chgData name="Tường SKHĐT" userId="ab9568c39a88b08a" providerId="LiveId" clId="{805CF0FB-80C6-433A-A325-AD1474DF2833}" dt="2023-03-09T02:01:00.443" v="3605"/>
          <ac:spMkLst>
            <pc:docMk/>
            <pc:sldMk cId="2802465441" sldId="2147473522"/>
            <ac:spMk id="4" creationId="{16D24723-A233-03FF-2329-1817AB93339D}"/>
          </ac:spMkLst>
        </pc:spChg>
        <pc:spChg chg="mod">
          <ac:chgData name="Tường SKHĐT" userId="ab9568c39a88b08a" providerId="LiveId" clId="{805CF0FB-80C6-433A-A325-AD1474DF2833}" dt="2023-03-08T03:27:27.316" v="875" actId="1076"/>
          <ac:spMkLst>
            <pc:docMk/>
            <pc:sldMk cId="2802465441" sldId="2147473522"/>
            <ac:spMk id="25" creationId="{01DC26C3-E6F4-C27A-8624-3A65D81B6008}"/>
          </ac:spMkLst>
        </pc:spChg>
        <pc:graphicFrameChg chg="mod modGraphic">
          <ac:chgData name="Tường SKHĐT" userId="ab9568c39a88b08a" providerId="LiveId" clId="{805CF0FB-80C6-433A-A325-AD1474DF2833}" dt="2023-03-08T03:30:34.332" v="908" actId="20577"/>
          <ac:graphicFrameMkLst>
            <pc:docMk/>
            <pc:sldMk cId="2802465441" sldId="2147473522"/>
            <ac:graphicFrameMk id="9" creationId="{0FC7DBA8-03B5-1D5D-B7A1-68AA6F62DF7E}"/>
          </ac:graphicFrameMkLst>
        </pc:graphicFrameChg>
        <pc:picChg chg="mod">
          <ac:chgData name="Tường SKHĐT" userId="ab9568c39a88b08a" providerId="LiveId" clId="{805CF0FB-80C6-433A-A325-AD1474DF2833}" dt="2023-03-08T03:27:18.798" v="871" actId="1076"/>
          <ac:picMkLst>
            <pc:docMk/>
            <pc:sldMk cId="2802465441" sldId="2147473522"/>
            <ac:picMk id="3" creationId="{F1C86665-484F-794D-CFA7-5A2693500FE9}"/>
          </ac:picMkLst>
        </pc:picChg>
        <pc:picChg chg="add mod">
          <ac:chgData name="Tường SKHĐT" userId="ab9568c39a88b08a" providerId="LiveId" clId="{805CF0FB-80C6-433A-A325-AD1474DF2833}" dt="2023-03-08T03:27:22.301" v="873" actId="1076"/>
          <ac:picMkLst>
            <pc:docMk/>
            <pc:sldMk cId="2802465441" sldId="2147473522"/>
            <ac:picMk id="5" creationId="{A2E80A29-18BA-20CE-B5E1-822C6F11226D}"/>
          </ac:picMkLst>
        </pc:picChg>
        <pc:picChg chg="mod">
          <ac:chgData name="Tường SKHĐT" userId="ab9568c39a88b08a" providerId="LiveId" clId="{805CF0FB-80C6-433A-A325-AD1474DF2833}" dt="2023-03-08T03:27:20.127" v="872" actId="1076"/>
          <ac:picMkLst>
            <pc:docMk/>
            <pc:sldMk cId="2802465441" sldId="2147473522"/>
            <ac:picMk id="7" creationId="{26274E26-13C4-619E-13E0-2799671F389F}"/>
          </ac:picMkLst>
        </pc:picChg>
        <pc:cxnChg chg="mod">
          <ac:chgData name="Tường SKHĐT" userId="ab9568c39a88b08a" providerId="LiveId" clId="{805CF0FB-80C6-433A-A325-AD1474DF2833}" dt="2023-03-09T02:01:03.852" v="3606" actId="14100"/>
          <ac:cxnSpMkLst>
            <pc:docMk/>
            <pc:sldMk cId="2802465441" sldId="2147473522"/>
            <ac:cxnSpMk id="6" creationId="{FF705920-E1B4-B4D0-9EA4-A27AA5761577}"/>
          </ac:cxnSpMkLst>
        </pc:cxnChg>
      </pc:sldChg>
      <pc:sldChg chg="addSp modSp mod">
        <pc:chgData name="Tường SKHĐT" userId="ab9568c39a88b08a" providerId="LiveId" clId="{805CF0FB-80C6-433A-A325-AD1474DF2833}" dt="2023-03-08T03:21:11.456" v="807" actId="1076"/>
        <pc:sldMkLst>
          <pc:docMk/>
          <pc:sldMk cId="2589014937" sldId="2147473526"/>
        </pc:sldMkLst>
        <pc:spChg chg="mod">
          <ac:chgData name="Tường SKHĐT" userId="ab9568c39a88b08a" providerId="LiveId" clId="{805CF0FB-80C6-433A-A325-AD1474DF2833}" dt="2023-03-08T03:15:30.312" v="710" actId="1076"/>
          <ac:spMkLst>
            <pc:docMk/>
            <pc:sldMk cId="2589014937" sldId="2147473526"/>
            <ac:spMk id="2" creationId="{80607D77-8D89-B2B8-17A1-5EC409702721}"/>
          </ac:spMkLst>
        </pc:spChg>
        <pc:spChg chg="mod">
          <ac:chgData name="Tường SKHĐT" userId="ab9568c39a88b08a" providerId="LiveId" clId="{805CF0FB-80C6-433A-A325-AD1474DF2833}" dt="2023-03-08T03:15:30.312" v="710" actId="1076"/>
          <ac:spMkLst>
            <pc:docMk/>
            <pc:sldMk cId="2589014937" sldId="2147473526"/>
            <ac:spMk id="3" creationId="{A0D5D58A-756E-802D-A09E-1BEA6D184E77}"/>
          </ac:spMkLst>
        </pc:spChg>
        <pc:spChg chg="add mod">
          <ac:chgData name="Tường SKHĐT" userId="ab9568c39a88b08a" providerId="LiveId" clId="{805CF0FB-80C6-433A-A325-AD1474DF2833}" dt="2023-03-08T03:19:27.223" v="734"/>
          <ac:spMkLst>
            <pc:docMk/>
            <pc:sldMk cId="2589014937" sldId="2147473526"/>
            <ac:spMk id="4" creationId="{BBC7EEBC-AFA3-C4AC-D803-2EB717E2AF16}"/>
          </ac:spMkLst>
        </pc:spChg>
        <pc:spChg chg="add mod">
          <ac:chgData name="Tường SKHĐT" userId="ab9568c39a88b08a" providerId="LiveId" clId="{805CF0FB-80C6-433A-A325-AD1474DF2833}" dt="2023-03-08T03:21:01.815" v="806" actId="20577"/>
          <ac:spMkLst>
            <pc:docMk/>
            <pc:sldMk cId="2589014937" sldId="2147473526"/>
            <ac:spMk id="6" creationId="{81B6DC98-C123-5771-E46D-17ED3EE03739}"/>
          </ac:spMkLst>
        </pc:spChg>
        <pc:spChg chg="add mod">
          <ac:chgData name="Tường SKHĐT" userId="ab9568c39a88b08a" providerId="LiveId" clId="{805CF0FB-80C6-433A-A325-AD1474DF2833}" dt="2023-03-08T03:20:55.331" v="796" actId="1076"/>
          <ac:spMkLst>
            <pc:docMk/>
            <pc:sldMk cId="2589014937" sldId="2147473526"/>
            <ac:spMk id="7" creationId="{64BE4B93-62E9-2F63-31E4-4FC00E3A7867}"/>
          </ac:spMkLst>
        </pc:spChg>
        <pc:spChg chg="mod">
          <ac:chgData name="Tường SKHĐT" userId="ab9568c39a88b08a" providerId="LiveId" clId="{805CF0FB-80C6-433A-A325-AD1474DF2833}" dt="2023-03-08T03:15:30.312" v="710" actId="1076"/>
          <ac:spMkLst>
            <pc:docMk/>
            <pc:sldMk cId="2589014937" sldId="2147473526"/>
            <ac:spMk id="12" creationId="{850931EF-4279-23FD-6428-18C12049025E}"/>
          </ac:spMkLst>
        </pc:spChg>
        <pc:spChg chg="mod">
          <ac:chgData name="Tường SKHĐT" userId="ab9568c39a88b08a" providerId="LiveId" clId="{805CF0FB-80C6-433A-A325-AD1474DF2833}" dt="2023-03-08T03:15:30.312" v="710" actId="1076"/>
          <ac:spMkLst>
            <pc:docMk/>
            <pc:sldMk cId="2589014937" sldId="2147473526"/>
            <ac:spMk id="13" creationId="{CFB1DF66-0E98-FC84-B508-AAB8AC25D4B3}"/>
          </ac:spMkLst>
        </pc:spChg>
        <pc:spChg chg="mod">
          <ac:chgData name="Tường SKHĐT" userId="ab9568c39a88b08a" providerId="LiveId" clId="{805CF0FB-80C6-433A-A325-AD1474DF2833}" dt="2023-03-08T03:18:36.249" v="717" actId="1076"/>
          <ac:spMkLst>
            <pc:docMk/>
            <pc:sldMk cId="2589014937" sldId="2147473526"/>
            <ac:spMk id="14" creationId="{2FB61F8A-9A24-43C5-EEAD-699E1478B087}"/>
          </ac:spMkLst>
        </pc:spChg>
        <pc:spChg chg="mod">
          <ac:chgData name="Tường SKHĐT" userId="ab9568c39a88b08a" providerId="LiveId" clId="{805CF0FB-80C6-433A-A325-AD1474DF2833}" dt="2023-03-08T03:18:38.073" v="718" actId="1076"/>
          <ac:spMkLst>
            <pc:docMk/>
            <pc:sldMk cId="2589014937" sldId="2147473526"/>
            <ac:spMk id="15" creationId="{741F0E28-9B46-DEE8-72B4-31C74A048999}"/>
          </ac:spMkLst>
        </pc:spChg>
        <pc:spChg chg="mod">
          <ac:chgData name="Tường SKHĐT" userId="ab9568c39a88b08a" providerId="LiveId" clId="{805CF0FB-80C6-433A-A325-AD1474DF2833}" dt="2023-03-08T03:18:40.388" v="719" actId="1076"/>
          <ac:spMkLst>
            <pc:docMk/>
            <pc:sldMk cId="2589014937" sldId="2147473526"/>
            <ac:spMk id="16" creationId="{CD1FFBD1-4EFA-ED54-8F81-E3C9559069D4}"/>
          </ac:spMkLst>
        </pc:spChg>
        <pc:spChg chg="mod">
          <ac:chgData name="Tường SKHĐT" userId="ab9568c39a88b08a" providerId="LiveId" clId="{805CF0FB-80C6-433A-A325-AD1474DF2833}" dt="2023-03-08T03:15:30.312" v="710" actId="1076"/>
          <ac:spMkLst>
            <pc:docMk/>
            <pc:sldMk cId="2589014937" sldId="2147473526"/>
            <ac:spMk id="19" creationId="{122A9A1C-AFFE-3821-B2D0-B1BF037AF2EA}"/>
          </ac:spMkLst>
        </pc:spChg>
        <pc:spChg chg="mod">
          <ac:chgData name="Tường SKHĐT" userId="ab9568c39a88b08a" providerId="LiveId" clId="{805CF0FB-80C6-433A-A325-AD1474DF2833}" dt="2023-03-08T03:18:45.680" v="721" actId="1076"/>
          <ac:spMkLst>
            <pc:docMk/>
            <pc:sldMk cId="2589014937" sldId="2147473526"/>
            <ac:spMk id="20" creationId="{9EFE970E-0B98-B556-3A4B-E26C7CAD10CA}"/>
          </ac:spMkLst>
        </pc:spChg>
        <pc:spChg chg="mod">
          <ac:chgData name="Tường SKHĐT" userId="ab9568c39a88b08a" providerId="LiveId" clId="{805CF0FB-80C6-433A-A325-AD1474DF2833}" dt="2023-03-08T03:15:32.736" v="711" actId="1076"/>
          <ac:spMkLst>
            <pc:docMk/>
            <pc:sldMk cId="2589014937" sldId="2147473526"/>
            <ac:spMk id="27" creationId="{A7706305-8775-399E-5BBA-BC4870FA15F6}"/>
          </ac:spMkLst>
        </pc:spChg>
        <pc:spChg chg="mod">
          <ac:chgData name="Tường SKHĐT" userId="ab9568c39a88b08a" providerId="LiveId" clId="{805CF0FB-80C6-433A-A325-AD1474DF2833}" dt="2023-03-08T03:18:54.584" v="723" actId="14100"/>
          <ac:spMkLst>
            <pc:docMk/>
            <pc:sldMk cId="2589014937" sldId="2147473526"/>
            <ac:spMk id="718" creationId="{00000000-0000-0000-0000-000000000000}"/>
          </ac:spMkLst>
        </pc:spChg>
        <pc:spChg chg="mod">
          <ac:chgData name="Tường SKHĐT" userId="ab9568c39a88b08a" providerId="LiveId" clId="{805CF0FB-80C6-433A-A325-AD1474DF2833}" dt="2023-03-08T03:18:52.504" v="722" actId="1076"/>
          <ac:spMkLst>
            <pc:docMk/>
            <pc:sldMk cId="2589014937" sldId="2147473526"/>
            <ac:spMk id="719" creationId="{00000000-0000-0000-0000-000000000000}"/>
          </ac:spMkLst>
        </pc:spChg>
        <pc:spChg chg="mod">
          <ac:chgData name="Tường SKHĐT" userId="ab9568c39a88b08a" providerId="LiveId" clId="{805CF0FB-80C6-433A-A325-AD1474DF2833}" dt="2023-03-08T03:15:30.312" v="710" actId="1076"/>
          <ac:spMkLst>
            <pc:docMk/>
            <pc:sldMk cId="2589014937" sldId="2147473526"/>
            <ac:spMk id="720" creationId="{00000000-0000-0000-0000-000000000000}"/>
          </ac:spMkLst>
        </pc:spChg>
        <pc:spChg chg="mod">
          <ac:chgData name="Tường SKHĐT" userId="ab9568c39a88b08a" providerId="LiveId" clId="{805CF0FB-80C6-433A-A325-AD1474DF2833}" dt="2023-03-08T03:18:32.931" v="716" actId="14100"/>
          <ac:spMkLst>
            <pc:docMk/>
            <pc:sldMk cId="2589014937" sldId="2147473526"/>
            <ac:spMk id="724" creationId="{00000000-0000-0000-0000-000000000000}"/>
          </ac:spMkLst>
        </pc:spChg>
        <pc:spChg chg="mod">
          <ac:chgData name="Tường SKHĐT" userId="ab9568c39a88b08a" providerId="LiveId" clId="{805CF0FB-80C6-433A-A325-AD1474DF2833}" dt="2023-03-08T03:15:30.312" v="710" actId="1076"/>
          <ac:spMkLst>
            <pc:docMk/>
            <pc:sldMk cId="2589014937" sldId="2147473526"/>
            <ac:spMk id="725" creationId="{00000000-0000-0000-0000-000000000000}"/>
          </ac:spMkLst>
        </pc:spChg>
        <pc:spChg chg="mod">
          <ac:chgData name="Tường SKHĐT" userId="ab9568c39a88b08a" providerId="LiveId" clId="{805CF0FB-80C6-433A-A325-AD1474DF2833}" dt="2023-03-08T03:15:30.312" v="710" actId="1076"/>
          <ac:spMkLst>
            <pc:docMk/>
            <pc:sldMk cId="2589014937" sldId="2147473526"/>
            <ac:spMk id="726" creationId="{00000000-0000-0000-0000-000000000000}"/>
          </ac:spMkLst>
        </pc:spChg>
        <pc:spChg chg="mod">
          <ac:chgData name="Tường SKHĐT" userId="ab9568c39a88b08a" providerId="LiveId" clId="{805CF0FB-80C6-433A-A325-AD1474DF2833}" dt="2023-03-08T03:15:30.312" v="710" actId="1076"/>
          <ac:spMkLst>
            <pc:docMk/>
            <pc:sldMk cId="2589014937" sldId="2147473526"/>
            <ac:spMk id="730" creationId="{76FC2223-CBDC-4B1C-A8C6-0DBB61B65684}"/>
          </ac:spMkLst>
        </pc:spChg>
        <pc:picChg chg="mod">
          <ac:chgData name="Tường SKHĐT" userId="ab9568c39a88b08a" providerId="LiveId" clId="{805CF0FB-80C6-433A-A325-AD1474DF2833}" dt="2023-03-08T03:21:11.456" v="807" actId="1076"/>
          <ac:picMkLst>
            <pc:docMk/>
            <pc:sldMk cId="2589014937" sldId="2147473526"/>
            <ac:picMk id="5" creationId="{FA953A66-BAF1-340A-A407-B9DFF5A3A068}"/>
          </ac:picMkLst>
        </pc:picChg>
        <pc:cxnChg chg="mod">
          <ac:chgData name="Tường SKHĐT" userId="ab9568c39a88b08a" providerId="LiveId" clId="{805CF0FB-80C6-433A-A325-AD1474DF2833}" dt="2023-03-08T03:15:30.312" v="710" actId="1076"/>
          <ac:cxnSpMkLst>
            <pc:docMk/>
            <pc:sldMk cId="2589014937" sldId="2147473526"/>
            <ac:cxnSpMk id="22" creationId="{76FB1604-8EE6-1B4A-8BEC-955916948809}"/>
          </ac:cxnSpMkLst>
        </pc:cxnChg>
        <pc:cxnChg chg="mod">
          <ac:chgData name="Tường SKHĐT" userId="ab9568c39a88b08a" providerId="LiveId" clId="{805CF0FB-80C6-433A-A325-AD1474DF2833}" dt="2023-03-08T03:15:30.312" v="710" actId="1076"/>
          <ac:cxnSpMkLst>
            <pc:docMk/>
            <pc:sldMk cId="2589014937" sldId="2147473526"/>
            <ac:cxnSpMk id="24" creationId="{4E2C09AD-1B29-015F-4185-E01171AA1855}"/>
          </ac:cxnSpMkLst>
        </pc:cxnChg>
        <pc:cxnChg chg="mod">
          <ac:chgData name="Tường SKHĐT" userId="ab9568c39a88b08a" providerId="LiveId" clId="{805CF0FB-80C6-433A-A325-AD1474DF2833}" dt="2023-03-08T03:15:30.312" v="710" actId="1076"/>
          <ac:cxnSpMkLst>
            <pc:docMk/>
            <pc:sldMk cId="2589014937" sldId="2147473526"/>
            <ac:cxnSpMk id="26" creationId="{169C6F43-6D5B-95B4-AB42-3B41CFB5B6B7}"/>
          </ac:cxnSpMkLst>
        </pc:cxnChg>
      </pc:sldChg>
      <pc:sldChg chg="modSp mod">
        <pc:chgData name="Tường SKHĐT" userId="ab9568c39a88b08a" providerId="LiveId" clId="{805CF0FB-80C6-433A-A325-AD1474DF2833}" dt="2023-03-09T01:59:48.225" v="3586" actId="14100"/>
        <pc:sldMkLst>
          <pc:docMk/>
          <pc:sldMk cId="269414345" sldId="2147473528"/>
        </pc:sldMkLst>
        <pc:spChg chg="mod">
          <ac:chgData name="Tường SKHĐT" userId="ab9568c39a88b08a" providerId="LiveId" clId="{805CF0FB-80C6-433A-A325-AD1474DF2833}" dt="2023-03-09T01:59:45.416" v="3585"/>
          <ac:spMkLst>
            <pc:docMk/>
            <pc:sldMk cId="269414345" sldId="2147473528"/>
            <ac:spMk id="4" creationId="{16D24723-A233-03FF-2329-1817AB93339D}"/>
          </ac:spMkLst>
        </pc:spChg>
        <pc:spChg chg="mod">
          <ac:chgData name="Tường SKHĐT" userId="ab9568c39a88b08a" providerId="LiveId" clId="{805CF0FB-80C6-433A-A325-AD1474DF2833}" dt="2023-03-08T01:24:10.519" v="17" actId="20577"/>
          <ac:spMkLst>
            <pc:docMk/>
            <pc:sldMk cId="269414345" sldId="2147473528"/>
            <ac:spMk id="25" creationId="{01DC26C3-E6F4-C27A-8624-3A65D81B6008}"/>
          </ac:spMkLst>
        </pc:spChg>
        <pc:cxnChg chg="mod">
          <ac:chgData name="Tường SKHĐT" userId="ab9568c39a88b08a" providerId="LiveId" clId="{805CF0FB-80C6-433A-A325-AD1474DF2833}" dt="2023-03-09T01:59:48.225" v="3586" actId="14100"/>
          <ac:cxnSpMkLst>
            <pc:docMk/>
            <pc:sldMk cId="269414345" sldId="2147473528"/>
            <ac:cxnSpMk id="6" creationId="{FF705920-E1B4-B4D0-9EA4-A27AA5761577}"/>
          </ac:cxnSpMkLst>
        </pc:cxnChg>
      </pc:sldChg>
      <pc:sldChg chg="addSp delSp modSp mod">
        <pc:chgData name="Tường SKHĐT" userId="ab9568c39a88b08a" providerId="LiveId" clId="{805CF0FB-80C6-433A-A325-AD1474DF2833}" dt="2023-03-09T01:59:09.773" v="3574" actId="14100"/>
        <pc:sldMkLst>
          <pc:docMk/>
          <pc:sldMk cId="3856454999" sldId="2147473538"/>
        </pc:sldMkLst>
        <pc:spChg chg="mod">
          <ac:chgData name="Tường SKHĐT" userId="ab9568c39a88b08a" providerId="LiveId" clId="{805CF0FB-80C6-433A-A325-AD1474DF2833}" dt="2023-03-09T01:59:04.798" v="3573"/>
          <ac:spMkLst>
            <pc:docMk/>
            <pc:sldMk cId="3856454999" sldId="2147473538"/>
            <ac:spMk id="4" creationId="{16D24723-A233-03FF-2329-1817AB93339D}"/>
          </ac:spMkLst>
        </pc:spChg>
        <pc:graphicFrameChg chg="add mod modGraphic">
          <ac:chgData name="Tường SKHĐT" userId="ab9568c39a88b08a" providerId="LiveId" clId="{805CF0FB-80C6-433A-A325-AD1474DF2833}" dt="2023-03-08T08:27:49.359" v="2814"/>
          <ac:graphicFrameMkLst>
            <pc:docMk/>
            <pc:sldMk cId="3856454999" sldId="2147473538"/>
            <ac:graphicFrameMk id="2" creationId="{EEB44773-BF1C-4685-F3FA-DE414C0B2FAD}"/>
          </ac:graphicFrameMkLst>
        </pc:graphicFrameChg>
        <pc:graphicFrameChg chg="del modGraphic">
          <ac:chgData name="Tường SKHĐT" userId="ab9568c39a88b08a" providerId="LiveId" clId="{805CF0FB-80C6-433A-A325-AD1474DF2833}" dt="2023-03-08T08:26:51.351" v="2797" actId="21"/>
          <ac:graphicFrameMkLst>
            <pc:docMk/>
            <pc:sldMk cId="3856454999" sldId="2147473538"/>
            <ac:graphicFrameMk id="7" creationId="{4B1CB47D-4416-A097-B1E9-B34AEDDFEDFA}"/>
          </ac:graphicFrameMkLst>
        </pc:graphicFrameChg>
        <pc:cxnChg chg="mod">
          <ac:chgData name="Tường SKHĐT" userId="ab9568c39a88b08a" providerId="LiveId" clId="{805CF0FB-80C6-433A-A325-AD1474DF2833}" dt="2023-03-09T01:59:09.773" v="3574" actId="14100"/>
          <ac:cxnSpMkLst>
            <pc:docMk/>
            <pc:sldMk cId="3856454999" sldId="2147473538"/>
            <ac:cxnSpMk id="6" creationId="{FF705920-E1B4-B4D0-9EA4-A27AA5761577}"/>
          </ac:cxnSpMkLst>
        </pc:cxnChg>
      </pc:sldChg>
      <pc:sldChg chg="addSp delSp modSp mod">
        <pc:chgData name="Tường SKHĐT" userId="ab9568c39a88b08a" providerId="LiveId" clId="{805CF0FB-80C6-433A-A325-AD1474DF2833}" dt="2023-03-09T07:29:02.098" v="4380" actId="14734"/>
        <pc:sldMkLst>
          <pc:docMk/>
          <pc:sldMk cId="3246394076" sldId="2147473540"/>
        </pc:sldMkLst>
        <pc:spChg chg="mod">
          <ac:chgData name="Tường SKHĐT" userId="ab9568c39a88b08a" providerId="LiveId" clId="{805CF0FB-80C6-433A-A325-AD1474DF2833}" dt="2023-03-09T01:59:12.306" v="3575"/>
          <ac:spMkLst>
            <pc:docMk/>
            <pc:sldMk cId="3246394076" sldId="2147473540"/>
            <ac:spMk id="4" creationId="{16D24723-A233-03FF-2329-1817AB93339D}"/>
          </ac:spMkLst>
        </pc:spChg>
        <pc:graphicFrameChg chg="add mod modGraphic">
          <ac:chgData name="Tường SKHĐT" userId="ab9568c39a88b08a" providerId="LiveId" clId="{805CF0FB-80C6-433A-A325-AD1474DF2833}" dt="2023-03-09T07:29:02.098" v="4380" actId="14734"/>
          <ac:graphicFrameMkLst>
            <pc:docMk/>
            <pc:sldMk cId="3246394076" sldId="2147473540"/>
            <ac:graphicFrameMk id="2" creationId="{383F49E2-AC48-3F99-F898-EB1015A826E4}"/>
          </ac:graphicFrameMkLst>
        </pc:graphicFrameChg>
        <pc:graphicFrameChg chg="mod modGraphic">
          <ac:chgData name="Tường SKHĐT" userId="ab9568c39a88b08a" providerId="LiveId" clId="{805CF0FB-80C6-433A-A325-AD1474DF2833}" dt="2023-03-09T07:28:45.766" v="4377" actId="14100"/>
          <ac:graphicFrameMkLst>
            <pc:docMk/>
            <pc:sldMk cId="3246394076" sldId="2147473540"/>
            <ac:graphicFrameMk id="8" creationId="{B5E5335D-2EED-82AF-3A59-FAE8BB94EAE1}"/>
          </ac:graphicFrameMkLst>
        </pc:graphicFrameChg>
        <pc:graphicFrameChg chg="del mod modGraphic">
          <ac:chgData name="Tường SKHĐT" userId="ab9568c39a88b08a" providerId="LiveId" clId="{805CF0FB-80C6-433A-A325-AD1474DF2833}" dt="2023-03-08T08:29:54.374" v="2859" actId="21"/>
          <ac:graphicFrameMkLst>
            <pc:docMk/>
            <pc:sldMk cId="3246394076" sldId="2147473540"/>
            <ac:graphicFrameMk id="10" creationId="{8E7087F5-D658-8CDB-7D18-3EEA8C8807BD}"/>
          </ac:graphicFrameMkLst>
        </pc:graphicFrameChg>
        <pc:picChg chg="del">
          <ac:chgData name="Tường SKHĐT" userId="ab9568c39a88b08a" providerId="LiveId" clId="{805CF0FB-80C6-433A-A325-AD1474DF2833}" dt="2023-03-08T08:28:29.855" v="2820" actId="21"/>
          <ac:picMkLst>
            <pc:docMk/>
            <pc:sldMk cId="3246394076" sldId="2147473540"/>
            <ac:picMk id="7" creationId="{AEDBEDB4-DFF5-FABD-B0B5-6F254C16099F}"/>
          </ac:picMkLst>
        </pc:picChg>
        <pc:cxnChg chg="mod">
          <ac:chgData name="Tường SKHĐT" userId="ab9568c39a88b08a" providerId="LiveId" clId="{805CF0FB-80C6-433A-A325-AD1474DF2833}" dt="2023-03-09T01:59:16.013" v="3576" actId="14100"/>
          <ac:cxnSpMkLst>
            <pc:docMk/>
            <pc:sldMk cId="3246394076" sldId="2147473540"/>
            <ac:cxnSpMk id="6" creationId="{FF705920-E1B4-B4D0-9EA4-A27AA5761577}"/>
          </ac:cxnSpMkLst>
        </pc:cxnChg>
      </pc:sldChg>
      <pc:sldChg chg="modSp del mod">
        <pc:chgData name="Tường SKHĐT" userId="ab9568c39a88b08a" providerId="LiveId" clId="{805CF0FB-80C6-433A-A325-AD1474DF2833}" dt="2023-03-09T07:49:26.482" v="4485" actId="2696"/>
        <pc:sldMkLst>
          <pc:docMk/>
          <pc:sldMk cId="2298926727" sldId="2147473541"/>
        </pc:sldMkLst>
        <pc:spChg chg="mod">
          <ac:chgData name="Tường SKHĐT" userId="ab9568c39a88b08a" providerId="LiveId" clId="{805CF0FB-80C6-433A-A325-AD1474DF2833}" dt="2023-03-09T01:59:33.748" v="3581"/>
          <ac:spMkLst>
            <pc:docMk/>
            <pc:sldMk cId="2298926727" sldId="2147473541"/>
            <ac:spMk id="4" creationId="{16D24723-A233-03FF-2329-1817AB93339D}"/>
          </ac:spMkLst>
        </pc:spChg>
        <pc:graphicFrameChg chg="modGraphic">
          <ac:chgData name="Tường SKHĐT" userId="ab9568c39a88b08a" providerId="LiveId" clId="{805CF0FB-80C6-433A-A325-AD1474DF2833}" dt="2023-03-08T09:26:18.128" v="2982" actId="207"/>
          <ac:graphicFrameMkLst>
            <pc:docMk/>
            <pc:sldMk cId="2298926727" sldId="2147473541"/>
            <ac:graphicFrameMk id="8" creationId="{B5E5335D-2EED-82AF-3A59-FAE8BB94EAE1}"/>
          </ac:graphicFrameMkLst>
        </pc:graphicFrameChg>
        <pc:cxnChg chg="mod">
          <ac:chgData name="Tường SKHĐT" userId="ab9568c39a88b08a" providerId="LiveId" clId="{805CF0FB-80C6-433A-A325-AD1474DF2833}" dt="2023-03-09T01:59:36.271" v="3582" actId="14100"/>
          <ac:cxnSpMkLst>
            <pc:docMk/>
            <pc:sldMk cId="2298926727" sldId="2147473541"/>
            <ac:cxnSpMk id="6" creationId="{FF705920-E1B4-B4D0-9EA4-A27AA5761577}"/>
          </ac:cxnSpMkLst>
        </pc:cxnChg>
      </pc:sldChg>
      <pc:sldChg chg="addSp delSp modSp mod setBg">
        <pc:chgData name="Tường SKHĐT" userId="ab9568c39a88b08a" providerId="LiveId" clId="{805CF0FB-80C6-433A-A325-AD1474DF2833}" dt="2023-03-08T01:41:00.091" v="480" actId="1076"/>
        <pc:sldMkLst>
          <pc:docMk/>
          <pc:sldMk cId="1893164686" sldId="2147473543"/>
        </pc:sldMkLst>
        <pc:spChg chg="mod ord">
          <ac:chgData name="Tường SKHĐT" userId="ab9568c39a88b08a" providerId="LiveId" clId="{805CF0FB-80C6-433A-A325-AD1474DF2833}" dt="2023-03-08T01:40:56.692" v="479" actId="26606"/>
          <ac:spMkLst>
            <pc:docMk/>
            <pc:sldMk cId="1893164686" sldId="2147473543"/>
            <ac:spMk id="27" creationId="{A7706305-8775-399E-5BBA-BC4870FA15F6}"/>
          </ac:spMkLst>
        </pc:spChg>
        <pc:spChg chg="add del">
          <ac:chgData name="Tường SKHĐT" userId="ab9568c39a88b08a" providerId="LiveId" clId="{805CF0FB-80C6-433A-A325-AD1474DF2833}" dt="2023-03-08T01:40:37.565" v="465" actId="26606"/>
          <ac:spMkLst>
            <pc:docMk/>
            <pc:sldMk cId="1893164686" sldId="2147473543"/>
            <ac:spMk id="29" creationId="{427F7AF4-72C6-4B71-9E40-53E8BFEF36B2}"/>
          </ac:spMkLst>
        </pc:spChg>
        <pc:spChg chg="add del">
          <ac:chgData name="Tường SKHĐT" userId="ab9568c39a88b08a" providerId="LiveId" clId="{805CF0FB-80C6-433A-A325-AD1474DF2833}" dt="2023-03-08T01:40:56.692" v="479" actId="26606"/>
          <ac:spMkLst>
            <pc:docMk/>
            <pc:sldMk cId="1893164686" sldId="2147473543"/>
            <ac:spMk id="30" creationId="{A8384FB5-9ADC-4DDC-881B-597D56F5B15D}"/>
          </ac:spMkLst>
        </pc:spChg>
        <pc:spChg chg="add del">
          <ac:chgData name="Tường SKHĐT" userId="ab9568c39a88b08a" providerId="LiveId" clId="{805CF0FB-80C6-433A-A325-AD1474DF2833}" dt="2023-03-08T01:40:39.379" v="467" actId="26606"/>
          <ac:spMkLst>
            <pc:docMk/>
            <pc:sldMk cId="1893164686" sldId="2147473543"/>
            <ac:spMk id="31" creationId="{A4AC5506-6312-4701-8D3C-40187889A947}"/>
          </ac:spMkLst>
        </pc:spChg>
        <pc:spChg chg="add del">
          <ac:chgData name="Tường SKHĐT" userId="ab9568c39a88b08a" providerId="LiveId" clId="{805CF0FB-80C6-433A-A325-AD1474DF2833}" dt="2023-03-08T01:38:03.772" v="445" actId="26606"/>
          <ac:spMkLst>
            <pc:docMk/>
            <pc:sldMk cId="1893164686" sldId="2147473543"/>
            <ac:spMk id="32" creationId="{D4771268-CB57-404A-9271-370EB28F6090}"/>
          </ac:spMkLst>
        </pc:spChg>
        <pc:spChg chg="add del">
          <ac:chgData name="Tường SKHĐT" userId="ab9568c39a88b08a" providerId="LiveId" clId="{805CF0FB-80C6-433A-A325-AD1474DF2833}" dt="2023-03-08T01:40:40.199" v="469" actId="26606"/>
          <ac:spMkLst>
            <pc:docMk/>
            <pc:sldMk cId="1893164686" sldId="2147473543"/>
            <ac:spMk id="33" creationId="{A4DE4307-BDF3-4CB8-BB73-53E14EF990E0}"/>
          </ac:spMkLst>
        </pc:spChg>
        <pc:spChg chg="add del">
          <ac:chgData name="Tường SKHĐT" userId="ab9568c39a88b08a" providerId="LiveId" clId="{805CF0FB-80C6-433A-A325-AD1474DF2833}" dt="2023-03-08T01:38:06.333" v="447" actId="26606"/>
          <ac:spMkLst>
            <pc:docMk/>
            <pc:sldMk cId="1893164686" sldId="2147473543"/>
            <ac:spMk id="34" creationId="{D12DDE76-C203-4047-9998-63900085B5E8}"/>
          </ac:spMkLst>
        </pc:spChg>
        <pc:spChg chg="add del">
          <ac:chgData name="Tường SKHĐT" userId="ab9568c39a88b08a" providerId="LiveId" clId="{805CF0FB-80C6-433A-A325-AD1474DF2833}" dt="2023-03-08T01:40:42.380" v="471" actId="26606"/>
          <ac:spMkLst>
            <pc:docMk/>
            <pc:sldMk cId="1893164686" sldId="2147473543"/>
            <ac:spMk id="35" creationId="{C1DD1A8A-57D5-4A81-AD04-532B043C5611}"/>
          </ac:spMkLst>
        </pc:spChg>
        <pc:spChg chg="add del">
          <ac:chgData name="Tường SKHĐT" userId="ab9568c39a88b08a" providerId="LiveId" clId="{805CF0FB-80C6-433A-A325-AD1474DF2833}" dt="2023-03-08T01:38:10.777" v="449" actId="26606"/>
          <ac:spMkLst>
            <pc:docMk/>
            <pc:sldMk cId="1893164686" sldId="2147473543"/>
            <ac:spMk id="36" creationId="{AC477752-ACCA-41C1-9B1D-D0CED1F9CBDD}"/>
          </ac:spMkLst>
        </pc:spChg>
        <pc:spChg chg="add del">
          <ac:chgData name="Tường SKHĐT" userId="ab9568c39a88b08a" providerId="LiveId" clId="{805CF0FB-80C6-433A-A325-AD1474DF2833}" dt="2023-03-08T01:40:42.380" v="471" actId="26606"/>
          <ac:spMkLst>
            <pc:docMk/>
            <pc:sldMk cId="1893164686" sldId="2147473543"/>
            <ac:spMk id="37" creationId="{007891EC-4501-44ED-A8C8-B11B6DB767AB}"/>
          </ac:spMkLst>
        </pc:spChg>
        <pc:spChg chg="add del">
          <ac:chgData name="Tường SKHĐT" userId="ab9568c39a88b08a" providerId="LiveId" clId="{805CF0FB-80C6-433A-A325-AD1474DF2833}" dt="2023-03-08T01:38:16.603" v="453" actId="26606"/>
          <ac:spMkLst>
            <pc:docMk/>
            <pc:sldMk cId="1893164686" sldId="2147473543"/>
            <ac:spMk id="38" creationId="{D4D28E87-62D2-4602-B72F-5F74AA236CC3}"/>
          </ac:spMkLst>
        </pc:spChg>
        <pc:spChg chg="add del">
          <ac:chgData name="Tường SKHĐT" userId="ab9568c39a88b08a" providerId="LiveId" clId="{805CF0FB-80C6-433A-A325-AD1474DF2833}" dt="2023-03-08T01:40:44.577" v="473" actId="26606"/>
          <ac:spMkLst>
            <pc:docMk/>
            <pc:sldMk cId="1893164686" sldId="2147473543"/>
            <ac:spMk id="39" creationId="{5AE63076-3880-48E0-984D-9447AFA976DA}"/>
          </ac:spMkLst>
        </pc:spChg>
        <pc:spChg chg="add del">
          <ac:chgData name="Tường SKHĐT" userId="ab9568c39a88b08a" providerId="LiveId" clId="{805CF0FB-80C6-433A-A325-AD1474DF2833}" dt="2023-03-08T01:40:56.692" v="479" actId="26606"/>
          <ac:spMkLst>
            <pc:docMk/>
            <pc:sldMk cId="1893164686" sldId="2147473543"/>
            <ac:spMk id="40" creationId="{1199E1B1-A8C0-4FE8-A5A8-1CB41D69F857}"/>
          </ac:spMkLst>
        </pc:spChg>
        <pc:spChg chg="add del">
          <ac:chgData name="Tường SKHĐT" userId="ab9568c39a88b08a" providerId="LiveId" clId="{805CF0FB-80C6-433A-A325-AD1474DF2833}" dt="2023-03-08T01:40:45.181" v="475" actId="26606"/>
          <ac:spMkLst>
            <pc:docMk/>
            <pc:sldMk cId="1893164686" sldId="2147473543"/>
            <ac:spMk id="41" creationId="{D4D28E87-62D2-4602-B72F-5F74AA236CC3}"/>
          </ac:spMkLst>
        </pc:spChg>
        <pc:spChg chg="add del">
          <ac:chgData name="Tường SKHĐT" userId="ab9568c39a88b08a" providerId="LiveId" clId="{805CF0FB-80C6-433A-A325-AD1474DF2833}" dt="2023-03-08T01:40:56.692" v="479" actId="26606"/>
          <ac:spMkLst>
            <pc:docMk/>
            <pc:sldMk cId="1893164686" sldId="2147473543"/>
            <ac:spMk id="42" creationId="{84A8DE83-DE75-4B41-9DB4-A7EC0B0DEC0B}"/>
          </ac:spMkLst>
        </pc:spChg>
        <pc:spChg chg="add del">
          <ac:chgData name="Tường SKHĐT" userId="ab9568c39a88b08a" providerId="LiveId" clId="{805CF0FB-80C6-433A-A325-AD1474DF2833}" dt="2023-03-08T01:40:56.692" v="479" actId="26606"/>
          <ac:spMkLst>
            <pc:docMk/>
            <pc:sldMk cId="1893164686" sldId="2147473543"/>
            <ac:spMk id="43" creationId="{A7009A0A-BEF5-4EAC-AF15-E4F9F002E239}"/>
          </ac:spMkLst>
        </pc:spChg>
        <pc:graphicFrameChg chg="add del mod">
          <ac:chgData name="Tường SKHĐT" userId="ab9568c39a88b08a" providerId="LiveId" clId="{805CF0FB-80C6-433A-A325-AD1474DF2833}" dt="2023-03-08T01:38:27.812" v="456"/>
          <ac:graphicFrameMkLst>
            <pc:docMk/>
            <pc:sldMk cId="1893164686" sldId="2147473543"/>
            <ac:graphicFrameMk id="3" creationId="{5712BD10-E8E1-218E-E159-46F613B001A2}"/>
          </ac:graphicFrameMkLst>
        </pc:graphicFrameChg>
        <pc:picChg chg="add del mod">
          <ac:chgData name="Tường SKHĐT" userId="ab9568c39a88b08a" providerId="LiveId" clId="{805CF0FB-80C6-433A-A325-AD1474DF2833}" dt="2023-03-08T01:38:18.996" v="454" actId="21"/>
          <ac:picMkLst>
            <pc:docMk/>
            <pc:sldMk cId="1893164686" sldId="2147473543"/>
            <ac:picMk id="2" creationId="{C2DC94EE-6B4C-EC59-F4B2-BBBF036F9BFA}"/>
          </ac:picMkLst>
        </pc:picChg>
        <pc:picChg chg="add mod">
          <ac:chgData name="Tường SKHĐT" userId="ab9568c39a88b08a" providerId="LiveId" clId="{805CF0FB-80C6-433A-A325-AD1474DF2833}" dt="2023-03-08T01:41:00.091" v="480" actId="1076"/>
          <ac:picMkLst>
            <pc:docMk/>
            <pc:sldMk cId="1893164686" sldId="2147473543"/>
            <ac:picMk id="5" creationId="{5CD19AE0-0900-8829-8BCC-145B3964A8CD}"/>
          </ac:picMkLst>
        </pc:picChg>
        <pc:picChg chg="add del">
          <ac:chgData name="Tường SKHĐT" userId="ab9568c39a88b08a" providerId="LiveId" clId="{805CF0FB-80C6-433A-A325-AD1474DF2833}" dt="2023-03-08T01:37:53.822" v="442" actId="21"/>
          <ac:picMkLst>
            <pc:docMk/>
            <pc:sldMk cId="1893164686" sldId="2147473543"/>
            <ac:picMk id="6" creationId="{0D91BA1C-308B-0BF9-8A33-E2FF42C456DF}"/>
          </ac:picMkLst>
        </pc:picChg>
      </pc:sldChg>
      <pc:sldChg chg="addSp delSp modSp add mod">
        <pc:chgData name="Tường SKHĐT" userId="ab9568c39a88b08a" providerId="LiveId" clId="{805CF0FB-80C6-433A-A325-AD1474DF2833}" dt="2023-03-09T02:00:43.125" v="3600" actId="14100"/>
        <pc:sldMkLst>
          <pc:docMk/>
          <pc:sldMk cId="4130804454" sldId="2147473544"/>
        </pc:sldMkLst>
        <pc:spChg chg="mod">
          <ac:chgData name="Tường SKHĐT" userId="ab9568c39a88b08a" providerId="LiveId" clId="{805CF0FB-80C6-433A-A325-AD1474DF2833}" dt="2023-03-09T02:00:39.431" v="3599"/>
          <ac:spMkLst>
            <pc:docMk/>
            <pc:sldMk cId="4130804454" sldId="2147473544"/>
            <ac:spMk id="4" creationId="{16D24723-A233-03FF-2329-1817AB93339D}"/>
          </ac:spMkLst>
        </pc:spChg>
        <pc:spChg chg="mod">
          <ac:chgData name="Tường SKHĐT" userId="ab9568c39a88b08a" providerId="LiveId" clId="{805CF0FB-80C6-433A-A325-AD1474DF2833}" dt="2023-03-08T01:55:07.188" v="700" actId="20577"/>
          <ac:spMkLst>
            <pc:docMk/>
            <pc:sldMk cId="4130804454" sldId="2147473544"/>
            <ac:spMk id="25" creationId="{01DC26C3-E6F4-C27A-8624-3A65D81B6008}"/>
          </ac:spMkLst>
        </pc:spChg>
        <pc:graphicFrameChg chg="del">
          <ac:chgData name="Tường SKHĐT" userId="ab9568c39a88b08a" providerId="LiveId" clId="{805CF0FB-80C6-433A-A325-AD1474DF2833}" dt="2023-03-08T01:49:40.505" v="588" actId="21"/>
          <ac:graphicFrameMkLst>
            <pc:docMk/>
            <pc:sldMk cId="4130804454" sldId="2147473544"/>
            <ac:graphicFrameMk id="2" creationId="{8986BBEE-AF8E-768A-0DA0-978B470B894D}"/>
          </ac:graphicFrameMkLst>
        </pc:graphicFrameChg>
        <pc:graphicFrameChg chg="del">
          <ac:chgData name="Tường SKHĐT" userId="ab9568c39a88b08a" providerId="LiveId" clId="{805CF0FB-80C6-433A-A325-AD1474DF2833}" dt="2023-03-08T01:51:10.895" v="621" actId="21"/>
          <ac:graphicFrameMkLst>
            <pc:docMk/>
            <pc:sldMk cId="4130804454" sldId="2147473544"/>
            <ac:graphicFrameMk id="3" creationId="{FD0E7B3C-C855-A7AE-2233-282E95781052}"/>
          </ac:graphicFrameMkLst>
        </pc:graphicFrameChg>
        <pc:graphicFrameChg chg="add mod">
          <ac:chgData name="Tường SKHĐT" userId="ab9568c39a88b08a" providerId="LiveId" clId="{805CF0FB-80C6-433A-A325-AD1474DF2833}" dt="2023-03-08T01:51:15.346" v="622" actId="1076"/>
          <ac:graphicFrameMkLst>
            <pc:docMk/>
            <pc:sldMk cId="4130804454" sldId="2147473544"/>
            <ac:graphicFrameMk id="5" creationId="{6FEF8E8F-912E-AFD3-F733-73DBAFEA3824}"/>
          </ac:graphicFrameMkLst>
        </pc:graphicFrameChg>
        <pc:graphicFrameChg chg="add mod modGraphic">
          <ac:chgData name="Tường SKHĐT" userId="ab9568c39a88b08a" providerId="LiveId" clId="{805CF0FB-80C6-433A-A325-AD1474DF2833}" dt="2023-03-08T01:54:03.477" v="643" actId="1076"/>
          <ac:graphicFrameMkLst>
            <pc:docMk/>
            <pc:sldMk cId="4130804454" sldId="2147473544"/>
            <ac:graphicFrameMk id="7" creationId="{DE684BB8-737C-326F-CC34-B8AF674B74F8}"/>
          </ac:graphicFrameMkLst>
        </pc:graphicFrameChg>
        <pc:cxnChg chg="mod">
          <ac:chgData name="Tường SKHĐT" userId="ab9568c39a88b08a" providerId="LiveId" clId="{805CF0FB-80C6-433A-A325-AD1474DF2833}" dt="2023-03-09T02:00:43.125" v="3600" actId="14100"/>
          <ac:cxnSpMkLst>
            <pc:docMk/>
            <pc:sldMk cId="4130804454" sldId="2147473544"/>
            <ac:cxnSpMk id="6" creationId="{FF705920-E1B4-B4D0-9EA4-A27AA5761577}"/>
          </ac:cxnSpMkLst>
        </pc:cxnChg>
      </pc:sldChg>
      <pc:sldChg chg="modSp mod">
        <pc:chgData name="Tường SKHĐT" userId="ab9568c39a88b08a" providerId="LiveId" clId="{805CF0FB-80C6-433A-A325-AD1474DF2833}" dt="2023-03-09T02:00:29.765" v="3596" actId="14100"/>
        <pc:sldMkLst>
          <pc:docMk/>
          <pc:sldMk cId="1786243308" sldId="2147473545"/>
        </pc:sldMkLst>
        <pc:spChg chg="mod">
          <ac:chgData name="Tường SKHĐT" userId="ab9568c39a88b08a" providerId="LiveId" clId="{805CF0FB-80C6-433A-A325-AD1474DF2833}" dt="2023-03-09T02:00:26.908" v="3595"/>
          <ac:spMkLst>
            <pc:docMk/>
            <pc:sldMk cId="1786243308" sldId="2147473545"/>
            <ac:spMk id="4" creationId="{16D24723-A233-03FF-2329-1817AB93339D}"/>
          </ac:spMkLst>
        </pc:spChg>
        <pc:cxnChg chg="mod">
          <ac:chgData name="Tường SKHĐT" userId="ab9568c39a88b08a" providerId="LiveId" clId="{805CF0FB-80C6-433A-A325-AD1474DF2833}" dt="2023-03-09T02:00:29.765" v="3596" actId="14100"/>
          <ac:cxnSpMkLst>
            <pc:docMk/>
            <pc:sldMk cId="1786243308" sldId="2147473545"/>
            <ac:cxnSpMk id="6" creationId="{FF705920-E1B4-B4D0-9EA4-A27AA5761577}"/>
          </ac:cxnSpMkLst>
        </pc:cxnChg>
      </pc:sldChg>
      <pc:sldChg chg="addSp modSp mod">
        <pc:chgData name="Tường SKHĐT" userId="ab9568c39a88b08a" providerId="LiveId" clId="{805CF0FB-80C6-433A-A325-AD1474DF2833}" dt="2023-03-09T02:00:36.609" v="3598" actId="14100"/>
        <pc:sldMkLst>
          <pc:docMk/>
          <pc:sldMk cId="1899568227" sldId="2147473546"/>
        </pc:sldMkLst>
        <pc:spChg chg="mod">
          <ac:chgData name="Tường SKHĐT" userId="ab9568c39a88b08a" providerId="LiveId" clId="{805CF0FB-80C6-433A-A325-AD1474DF2833}" dt="2023-03-09T02:00:33.981" v="3597"/>
          <ac:spMkLst>
            <pc:docMk/>
            <pc:sldMk cId="1899568227" sldId="2147473546"/>
            <ac:spMk id="4" creationId="{16D24723-A233-03FF-2329-1817AB93339D}"/>
          </ac:spMkLst>
        </pc:spChg>
        <pc:spChg chg="mod">
          <ac:chgData name="Tường SKHĐT" userId="ab9568c39a88b08a" providerId="LiveId" clId="{805CF0FB-80C6-433A-A325-AD1474DF2833}" dt="2023-03-08T01:54:56.882" v="670" actId="20577"/>
          <ac:spMkLst>
            <pc:docMk/>
            <pc:sldMk cId="1899568227" sldId="2147473546"/>
            <ac:spMk id="25" creationId="{01DC26C3-E6F4-C27A-8624-3A65D81B6008}"/>
          </ac:spMkLst>
        </pc:spChg>
        <pc:graphicFrameChg chg="add mod">
          <ac:chgData name="Tường SKHĐT" userId="ab9568c39a88b08a" providerId="LiveId" clId="{805CF0FB-80C6-433A-A325-AD1474DF2833}" dt="2023-03-08T04:04:05.283" v="961" actId="404"/>
          <ac:graphicFrameMkLst>
            <pc:docMk/>
            <pc:sldMk cId="1899568227" sldId="2147473546"/>
            <ac:graphicFrameMk id="2" creationId="{A08EB5F7-D899-7227-810E-9D2967DF9F96}"/>
          </ac:graphicFrameMkLst>
        </pc:graphicFrameChg>
        <pc:graphicFrameChg chg="mod modGraphic">
          <ac:chgData name="Tường SKHĐT" userId="ab9568c39a88b08a" providerId="LiveId" clId="{805CF0FB-80C6-433A-A325-AD1474DF2833}" dt="2023-03-08T04:03:53.719" v="960" actId="12"/>
          <ac:graphicFrameMkLst>
            <pc:docMk/>
            <pc:sldMk cId="1899568227" sldId="2147473546"/>
            <ac:graphicFrameMk id="8" creationId="{B5E5335D-2EED-82AF-3A59-FAE8BB94EAE1}"/>
          </ac:graphicFrameMkLst>
        </pc:graphicFrameChg>
        <pc:cxnChg chg="mod">
          <ac:chgData name="Tường SKHĐT" userId="ab9568c39a88b08a" providerId="LiveId" clId="{805CF0FB-80C6-433A-A325-AD1474DF2833}" dt="2023-03-09T02:00:36.609" v="3598" actId="14100"/>
          <ac:cxnSpMkLst>
            <pc:docMk/>
            <pc:sldMk cId="1899568227" sldId="2147473546"/>
            <ac:cxnSpMk id="6" creationId="{FF705920-E1B4-B4D0-9EA4-A27AA5761577}"/>
          </ac:cxnSpMkLst>
        </pc:cxnChg>
      </pc:sldChg>
      <pc:sldChg chg="modSp mod">
        <pc:chgData name="Tường SKHĐT" userId="ab9568c39a88b08a" providerId="LiveId" clId="{805CF0FB-80C6-433A-A325-AD1474DF2833}" dt="2023-03-09T01:58:25.425" v="3515" actId="20577"/>
        <pc:sldMkLst>
          <pc:docMk/>
          <pc:sldMk cId="3035689650" sldId="2147473547"/>
        </pc:sldMkLst>
        <pc:spChg chg="mod">
          <ac:chgData name="Tường SKHĐT" userId="ab9568c39a88b08a" providerId="LiveId" clId="{805CF0FB-80C6-433A-A325-AD1474DF2833}" dt="2023-03-09T01:58:25.425" v="3515" actId="20577"/>
          <ac:spMkLst>
            <pc:docMk/>
            <pc:sldMk cId="3035689650" sldId="2147473547"/>
            <ac:spMk id="4" creationId="{00000000-0000-0000-0000-000000000000}"/>
          </ac:spMkLst>
        </pc:spChg>
      </pc:sldChg>
      <pc:sldChg chg="add del">
        <pc:chgData name="Tường SKHĐT" userId="ab9568c39a88b08a" providerId="LiveId" clId="{805CF0FB-80C6-433A-A325-AD1474DF2833}" dt="2023-03-08T04:18:21.189" v="1195" actId="2696"/>
        <pc:sldMkLst>
          <pc:docMk/>
          <pc:sldMk cId="1547433331" sldId="2147473548"/>
        </pc:sldMkLst>
      </pc:sldChg>
      <pc:sldChg chg="addSp delSp modSp mod">
        <pc:chgData name="Tường SKHĐT" userId="ab9568c39a88b08a" providerId="LiveId" clId="{805CF0FB-80C6-433A-A325-AD1474DF2833}" dt="2023-03-09T01:59:23.861" v="3578" actId="14100"/>
        <pc:sldMkLst>
          <pc:docMk/>
          <pc:sldMk cId="537512070" sldId="2147473549"/>
        </pc:sldMkLst>
        <pc:spChg chg="mod">
          <ac:chgData name="Tường SKHĐT" userId="ab9568c39a88b08a" providerId="LiveId" clId="{805CF0FB-80C6-433A-A325-AD1474DF2833}" dt="2023-03-09T01:59:20.352" v="3577"/>
          <ac:spMkLst>
            <pc:docMk/>
            <pc:sldMk cId="537512070" sldId="2147473549"/>
            <ac:spMk id="4" creationId="{16D24723-A233-03FF-2329-1817AB93339D}"/>
          </ac:spMkLst>
        </pc:spChg>
        <pc:graphicFrameChg chg="add mod modGraphic">
          <ac:chgData name="Tường SKHĐT" userId="ab9568c39a88b08a" providerId="LiveId" clId="{805CF0FB-80C6-433A-A325-AD1474DF2833}" dt="2023-03-08T08:29:18.690" v="2831" actId="14100"/>
          <ac:graphicFrameMkLst>
            <pc:docMk/>
            <pc:sldMk cId="537512070" sldId="2147473549"/>
            <ac:graphicFrameMk id="2" creationId="{18E06811-42F8-437B-CF82-5FBE237A0396}"/>
          </ac:graphicFrameMkLst>
        </pc:graphicFrameChg>
        <pc:graphicFrameChg chg="del">
          <ac:chgData name="Tường SKHĐT" userId="ab9568c39a88b08a" providerId="LiveId" clId="{805CF0FB-80C6-433A-A325-AD1474DF2833}" dt="2023-03-08T08:28:43.186" v="2824" actId="21"/>
          <ac:graphicFrameMkLst>
            <pc:docMk/>
            <pc:sldMk cId="537512070" sldId="2147473549"/>
            <ac:graphicFrameMk id="5" creationId="{17F76530-0BF0-6EDB-D1AD-D43D00263199}"/>
          </ac:graphicFrameMkLst>
        </pc:graphicFrameChg>
        <pc:cxnChg chg="mod">
          <ac:chgData name="Tường SKHĐT" userId="ab9568c39a88b08a" providerId="LiveId" clId="{805CF0FB-80C6-433A-A325-AD1474DF2833}" dt="2023-03-09T01:59:23.861" v="3578" actId="14100"/>
          <ac:cxnSpMkLst>
            <pc:docMk/>
            <pc:sldMk cId="537512070" sldId="2147473549"/>
            <ac:cxnSpMk id="6" creationId="{FF705920-E1B4-B4D0-9EA4-A27AA5761577}"/>
          </ac:cxnSpMkLst>
        </pc:cxnChg>
      </pc:sldChg>
      <pc:sldChg chg="del">
        <pc:chgData name="Tường SKHĐT" userId="ab9568c39a88b08a" providerId="LiveId" clId="{805CF0FB-80C6-433A-A325-AD1474DF2833}" dt="2023-03-08T09:26:48.864" v="2985" actId="2696"/>
        <pc:sldMkLst>
          <pc:docMk/>
          <pc:sldMk cId="3002944224" sldId="2147473550"/>
        </pc:sldMkLst>
      </pc:sldChg>
      <pc:sldChg chg="addSp delSp modSp mod">
        <pc:chgData name="Tường SKHĐT" userId="ab9568c39a88b08a" providerId="LiveId" clId="{805CF0FB-80C6-433A-A325-AD1474DF2833}" dt="2023-03-08T03:41:34.365" v="941" actId="14100"/>
        <pc:sldMkLst>
          <pc:docMk/>
          <pc:sldMk cId="3036134749" sldId="2147473551"/>
        </pc:sldMkLst>
        <pc:graphicFrameChg chg="add del mod modGraphic">
          <ac:chgData name="Tường SKHĐT" userId="ab9568c39a88b08a" providerId="LiveId" clId="{805CF0FB-80C6-433A-A325-AD1474DF2833}" dt="2023-03-08T03:40:53.354" v="935" actId="21"/>
          <ac:graphicFrameMkLst>
            <pc:docMk/>
            <pc:sldMk cId="3036134749" sldId="2147473551"/>
            <ac:graphicFrameMk id="4" creationId="{2C06C534-32B9-453A-F945-5D9F26469115}"/>
          </ac:graphicFrameMkLst>
        </pc:graphicFrameChg>
        <pc:picChg chg="add del mod">
          <ac:chgData name="Tường SKHĐT" userId="ab9568c39a88b08a" providerId="LiveId" clId="{805CF0FB-80C6-433A-A325-AD1474DF2833}" dt="2023-03-08T03:39:02.369" v="911" actId="21"/>
          <ac:picMkLst>
            <pc:docMk/>
            <pc:sldMk cId="3036134749" sldId="2147473551"/>
            <ac:picMk id="2" creationId="{3287FD68-7766-26CA-684B-B9C3FFFD546C}"/>
          </ac:picMkLst>
        </pc:picChg>
        <pc:picChg chg="add del mod">
          <ac:chgData name="Tường SKHĐT" userId="ab9568c39a88b08a" providerId="LiveId" clId="{805CF0FB-80C6-433A-A325-AD1474DF2833}" dt="2023-03-08T03:39:09.794" v="913" actId="21"/>
          <ac:picMkLst>
            <pc:docMk/>
            <pc:sldMk cId="3036134749" sldId="2147473551"/>
            <ac:picMk id="3" creationId="{2BFD5858-DA19-2E38-719C-9B29B25416EB}"/>
          </ac:picMkLst>
        </pc:picChg>
        <pc:picChg chg="del">
          <ac:chgData name="Tường SKHĐT" userId="ab9568c39a88b08a" providerId="LiveId" clId="{805CF0FB-80C6-433A-A325-AD1474DF2833}" dt="2023-03-08T03:38:52.904" v="909" actId="21"/>
          <ac:picMkLst>
            <pc:docMk/>
            <pc:sldMk cId="3036134749" sldId="2147473551"/>
            <ac:picMk id="6" creationId="{1361ED7E-B35F-9192-50D0-B37264EF7016}"/>
          </ac:picMkLst>
        </pc:picChg>
        <pc:picChg chg="add mod">
          <ac:chgData name="Tường SKHĐT" userId="ab9568c39a88b08a" providerId="LiveId" clId="{805CF0FB-80C6-433A-A325-AD1474DF2833}" dt="2023-03-08T03:41:34.365" v="941" actId="14100"/>
          <ac:picMkLst>
            <pc:docMk/>
            <pc:sldMk cId="3036134749" sldId="2147473551"/>
            <ac:picMk id="10" creationId="{5D8CD86A-3AD6-5D82-7994-52B1EE234CC8}"/>
          </ac:picMkLst>
        </pc:picChg>
      </pc:sldChg>
      <pc:sldChg chg="addSp delSp modSp add mod">
        <pc:chgData name="Tường SKHĐT" userId="ab9568c39a88b08a" providerId="LiveId" clId="{805CF0FB-80C6-433A-A325-AD1474DF2833}" dt="2023-03-09T01:59:55.657" v="3588" actId="14100"/>
        <pc:sldMkLst>
          <pc:docMk/>
          <pc:sldMk cId="580705254" sldId="2147473552"/>
        </pc:sldMkLst>
        <pc:spChg chg="mod">
          <ac:chgData name="Tường SKHĐT" userId="ab9568c39a88b08a" providerId="LiveId" clId="{805CF0FB-80C6-433A-A325-AD1474DF2833}" dt="2023-03-09T01:59:51.513" v="3587"/>
          <ac:spMkLst>
            <pc:docMk/>
            <pc:sldMk cId="580705254" sldId="2147473552"/>
            <ac:spMk id="4" creationId="{16D24723-A233-03FF-2329-1817AB93339D}"/>
          </ac:spMkLst>
        </pc:spChg>
        <pc:graphicFrameChg chg="mod modGraphic">
          <ac:chgData name="Tường SKHĐT" userId="ab9568c39a88b08a" providerId="LiveId" clId="{805CF0FB-80C6-433A-A325-AD1474DF2833}" dt="2023-03-08T01:28:21.842" v="393" actId="20577"/>
          <ac:graphicFrameMkLst>
            <pc:docMk/>
            <pc:sldMk cId="580705254" sldId="2147473552"/>
            <ac:graphicFrameMk id="8" creationId="{B5E5335D-2EED-82AF-3A59-FAE8BB94EAE1}"/>
          </ac:graphicFrameMkLst>
        </pc:graphicFrameChg>
        <pc:graphicFrameChg chg="del">
          <ac:chgData name="Tường SKHĐT" userId="ab9568c39a88b08a" providerId="LiveId" clId="{805CF0FB-80C6-433A-A325-AD1474DF2833}" dt="2023-03-08T01:24:21.676" v="19" actId="21"/>
          <ac:graphicFrameMkLst>
            <pc:docMk/>
            <pc:sldMk cId="580705254" sldId="2147473552"/>
            <ac:graphicFrameMk id="12" creationId="{109A2457-F4BA-9DA8-51CF-3493BDD4EE8F}"/>
          </ac:graphicFrameMkLst>
        </pc:graphicFrameChg>
        <pc:picChg chg="add mod">
          <ac:chgData name="Tường SKHĐT" userId="ab9568c39a88b08a" providerId="LiveId" clId="{805CF0FB-80C6-433A-A325-AD1474DF2833}" dt="2023-03-08T01:25:25.986" v="40" actId="1076"/>
          <ac:picMkLst>
            <pc:docMk/>
            <pc:sldMk cId="580705254" sldId="2147473552"/>
            <ac:picMk id="3" creationId="{9AF740F2-8657-5D2B-1E99-EF2B0034363B}"/>
          </ac:picMkLst>
        </pc:picChg>
        <pc:picChg chg="add mod">
          <ac:chgData name="Tường SKHĐT" userId="ab9568c39a88b08a" providerId="LiveId" clId="{805CF0FB-80C6-433A-A325-AD1474DF2833}" dt="2023-03-08T01:25:24.392" v="39" actId="14100"/>
          <ac:picMkLst>
            <pc:docMk/>
            <pc:sldMk cId="580705254" sldId="2147473552"/>
            <ac:picMk id="7" creationId="{5CDE7AB5-FCC7-E08F-A14A-12072FF36A97}"/>
          </ac:picMkLst>
        </pc:picChg>
        <pc:picChg chg="del">
          <ac:chgData name="Tường SKHĐT" userId="ab9568c39a88b08a" providerId="LiveId" clId="{805CF0FB-80C6-433A-A325-AD1474DF2833}" dt="2023-03-08T01:24:24.082" v="20" actId="21"/>
          <ac:picMkLst>
            <pc:docMk/>
            <pc:sldMk cId="580705254" sldId="2147473552"/>
            <ac:picMk id="10" creationId="{98D5E116-9007-7C05-526C-FE5AD4674A8B}"/>
          </ac:picMkLst>
        </pc:picChg>
        <pc:cxnChg chg="mod">
          <ac:chgData name="Tường SKHĐT" userId="ab9568c39a88b08a" providerId="LiveId" clId="{805CF0FB-80C6-433A-A325-AD1474DF2833}" dt="2023-03-09T01:59:55.657" v="3588" actId="14100"/>
          <ac:cxnSpMkLst>
            <pc:docMk/>
            <pc:sldMk cId="580705254" sldId="2147473552"/>
            <ac:cxnSpMk id="6" creationId="{FF705920-E1B4-B4D0-9EA4-A27AA5761577}"/>
          </ac:cxnSpMkLst>
        </pc:cxnChg>
      </pc:sldChg>
      <pc:sldChg chg="addSp delSp modSp add mod">
        <pc:chgData name="Tường SKHĐT" userId="ab9568c39a88b08a" providerId="LiveId" clId="{805CF0FB-80C6-433A-A325-AD1474DF2833}" dt="2023-03-09T02:00:49.945" v="3602" actId="14100"/>
        <pc:sldMkLst>
          <pc:docMk/>
          <pc:sldMk cId="2489976923" sldId="2147473553"/>
        </pc:sldMkLst>
        <pc:spChg chg="mod">
          <ac:chgData name="Tường SKHĐT" userId="ab9568c39a88b08a" providerId="LiveId" clId="{805CF0FB-80C6-433A-A325-AD1474DF2833}" dt="2023-03-09T02:00:47.273" v="3601"/>
          <ac:spMkLst>
            <pc:docMk/>
            <pc:sldMk cId="2489976923" sldId="2147473553"/>
            <ac:spMk id="4" creationId="{16D24723-A233-03FF-2329-1817AB93339D}"/>
          </ac:spMkLst>
        </pc:spChg>
        <pc:graphicFrameChg chg="add mod">
          <ac:chgData name="Tường SKHĐT" userId="ab9568c39a88b08a" providerId="LiveId" clId="{805CF0FB-80C6-433A-A325-AD1474DF2833}" dt="2023-03-08T04:11:17.992" v="968" actId="14100"/>
          <ac:graphicFrameMkLst>
            <pc:docMk/>
            <pc:sldMk cId="2489976923" sldId="2147473553"/>
            <ac:graphicFrameMk id="2" creationId="{44F4FA72-D1AA-8B5C-D4E7-8DDB88D8BEF9}"/>
          </ac:graphicFrameMkLst>
        </pc:graphicFrameChg>
        <pc:graphicFrameChg chg="add mod modGraphic">
          <ac:chgData name="Tường SKHĐT" userId="ab9568c39a88b08a" providerId="LiveId" clId="{805CF0FB-80C6-433A-A325-AD1474DF2833}" dt="2023-03-08T04:12:21.843" v="986" actId="122"/>
          <ac:graphicFrameMkLst>
            <pc:docMk/>
            <pc:sldMk cId="2489976923" sldId="2147473553"/>
            <ac:graphicFrameMk id="3" creationId="{67E6D109-73B6-7059-3D35-0E818FF96EB8}"/>
          </ac:graphicFrameMkLst>
        </pc:graphicFrameChg>
        <pc:graphicFrameChg chg="del">
          <ac:chgData name="Tường SKHĐT" userId="ab9568c39a88b08a" providerId="LiveId" clId="{805CF0FB-80C6-433A-A325-AD1474DF2833}" dt="2023-03-08T04:05:14.673" v="963" actId="21"/>
          <ac:graphicFrameMkLst>
            <pc:docMk/>
            <pc:sldMk cId="2489976923" sldId="2147473553"/>
            <ac:graphicFrameMk id="5" creationId="{6FEF8E8F-912E-AFD3-F733-73DBAFEA3824}"/>
          </ac:graphicFrameMkLst>
        </pc:graphicFrameChg>
        <pc:graphicFrameChg chg="del">
          <ac:chgData name="Tường SKHĐT" userId="ab9568c39a88b08a" providerId="LiveId" clId="{805CF0FB-80C6-433A-A325-AD1474DF2833}" dt="2023-03-08T04:05:17.150" v="964" actId="21"/>
          <ac:graphicFrameMkLst>
            <pc:docMk/>
            <pc:sldMk cId="2489976923" sldId="2147473553"/>
            <ac:graphicFrameMk id="7" creationId="{DE684BB8-737C-326F-CC34-B8AF674B74F8}"/>
          </ac:graphicFrameMkLst>
        </pc:graphicFrameChg>
        <pc:cxnChg chg="mod">
          <ac:chgData name="Tường SKHĐT" userId="ab9568c39a88b08a" providerId="LiveId" clId="{805CF0FB-80C6-433A-A325-AD1474DF2833}" dt="2023-03-09T02:00:49.945" v="3602" actId="14100"/>
          <ac:cxnSpMkLst>
            <pc:docMk/>
            <pc:sldMk cId="2489976923" sldId="2147473553"/>
            <ac:cxnSpMk id="6" creationId="{FF705920-E1B4-B4D0-9EA4-A27AA5761577}"/>
          </ac:cxnSpMkLst>
        </pc:cxnChg>
      </pc:sldChg>
      <pc:sldChg chg="new del">
        <pc:chgData name="Tường SKHĐT" userId="ab9568c39a88b08a" providerId="LiveId" clId="{805CF0FB-80C6-433A-A325-AD1474DF2833}" dt="2023-03-08T01:49:35.643" v="587" actId="2696"/>
        <pc:sldMkLst>
          <pc:docMk/>
          <pc:sldMk cId="4220627317" sldId="2147473553"/>
        </pc:sldMkLst>
      </pc:sldChg>
      <pc:sldChg chg="addSp modSp add mod">
        <pc:chgData name="Tường SKHĐT" userId="ab9568c39a88b08a" providerId="LiveId" clId="{805CF0FB-80C6-433A-A325-AD1474DF2833}" dt="2023-03-09T02:59:12.950" v="3935" actId="20577"/>
        <pc:sldMkLst>
          <pc:docMk/>
          <pc:sldMk cId="1030866050" sldId="2147473554"/>
        </pc:sldMkLst>
        <pc:spChg chg="mod">
          <ac:chgData name="Tường SKHĐT" userId="ab9568c39a88b08a" providerId="LiveId" clId="{805CF0FB-80C6-433A-A325-AD1474DF2833}" dt="2023-03-09T02:59:12.950" v="3935" actId="20577"/>
          <ac:spMkLst>
            <pc:docMk/>
            <pc:sldMk cId="1030866050" sldId="2147473554"/>
            <ac:spMk id="4" creationId="{00000000-0000-0000-0000-000000000000}"/>
          </ac:spMkLst>
        </pc:spChg>
        <pc:graphicFrameChg chg="mod modGraphic">
          <ac:chgData name="Tường SKHĐT" userId="ab9568c39a88b08a" providerId="LiveId" clId="{805CF0FB-80C6-433A-A325-AD1474DF2833}" dt="2023-03-09T02:58:50.833" v="3915" actId="1076"/>
          <ac:graphicFrameMkLst>
            <pc:docMk/>
            <pc:sldMk cId="1030866050" sldId="2147473554"/>
            <ac:graphicFrameMk id="2" creationId="{FBFFDBCD-49A2-B604-F9E9-B81E95DF4EB5}"/>
          </ac:graphicFrameMkLst>
        </pc:graphicFrameChg>
        <pc:graphicFrameChg chg="add mod modGraphic">
          <ac:chgData name="Tường SKHĐT" userId="ab9568c39a88b08a" providerId="LiveId" clId="{805CF0FB-80C6-433A-A325-AD1474DF2833}" dt="2023-03-09T02:57:49.720" v="3821" actId="207"/>
          <ac:graphicFrameMkLst>
            <pc:docMk/>
            <pc:sldMk cId="1030866050" sldId="2147473554"/>
            <ac:graphicFrameMk id="3" creationId="{2E3E3DAE-54B2-6742-190A-ED1AAD7C7C60}"/>
          </ac:graphicFrameMkLst>
        </pc:graphicFrameChg>
      </pc:sldChg>
      <pc:sldChg chg="addSp modSp add mod">
        <pc:chgData name="Tường SKHĐT" userId="ab9568c39a88b08a" providerId="LiveId" clId="{805CF0FB-80C6-433A-A325-AD1474DF2833}" dt="2023-03-09T03:15:59.680" v="4069" actId="20577"/>
        <pc:sldMkLst>
          <pc:docMk/>
          <pc:sldMk cId="2731780743" sldId="2147473555"/>
        </pc:sldMkLst>
        <pc:graphicFrameChg chg="mod modGraphic">
          <ac:chgData name="Tường SKHĐT" userId="ab9568c39a88b08a" providerId="LiveId" clId="{805CF0FB-80C6-433A-A325-AD1474DF2833}" dt="2023-03-09T03:15:59.680" v="4069" actId="20577"/>
          <ac:graphicFrameMkLst>
            <pc:docMk/>
            <pc:sldMk cId="2731780743" sldId="2147473555"/>
            <ac:graphicFrameMk id="2" creationId="{FBFFDBCD-49A2-B604-F9E9-B81E95DF4EB5}"/>
          </ac:graphicFrameMkLst>
        </pc:graphicFrameChg>
        <pc:graphicFrameChg chg="add mod modGraphic">
          <ac:chgData name="Tường SKHĐT" userId="ab9568c39a88b08a" providerId="LiveId" clId="{805CF0FB-80C6-433A-A325-AD1474DF2833}" dt="2023-03-09T03:15:48.527" v="4066" actId="14100"/>
          <ac:graphicFrameMkLst>
            <pc:docMk/>
            <pc:sldMk cId="2731780743" sldId="2147473555"/>
            <ac:graphicFrameMk id="3" creationId="{46BC0D04-5C78-8ECD-463E-08080CB32353}"/>
          </ac:graphicFrameMkLst>
        </pc:graphicFrameChg>
      </pc:sldChg>
      <pc:sldChg chg="addSp modSp add mod">
        <pc:chgData name="Tường SKHĐT" userId="ab9568c39a88b08a" providerId="LiveId" clId="{805CF0FB-80C6-433A-A325-AD1474DF2833}" dt="2023-03-09T03:33:07.649" v="4201" actId="20577"/>
        <pc:sldMkLst>
          <pc:docMk/>
          <pc:sldMk cId="3432425557" sldId="2147473556"/>
        </pc:sldMkLst>
        <pc:spChg chg="mod">
          <ac:chgData name="Tường SKHĐT" userId="ab9568c39a88b08a" providerId="LiveId" clId="{805CF0FB-80C6-433A-A325-AD1474DF2833}" dt="2023-03-08T04:32:55.461" v="2015" actId="1076"/>
          <ac:spMkLst>
            <pc:docMk/>
            <pc:sldMk cId="3432425557" sldId="2147473556"/>
            <ac:spMk id="4" creationId="{00000000-0000-0000-0000-000000000000}"/>
          </ac:spMkLst>
        </pc:spChg>
        <pc:graphicFrameChg chg="mod modGraphic">
          <ac:chgData name="Tường SKHĐT" userId="ab9568c39a88b08a" providerId="LiveId" clId="{805CF0FB-80C6-433A-A325-AD1474DF2833}" dt="2023-03-09T03:33:07.649" v="4201" actId="20577"/>
          <ac:graphicFrameMkLst>
            <pc:docMk/>
            <pc:sldMk cId="3432425557" sldId="2147473556"/>
            <ac:graphicFrameMk id="2" creationId="{FBFFDBCD-49A2-B604-F9E9-B81E95DF4EB5}"/>
          </ac:graphicFrameMkLst>
        </pc:graphicFrameChg>
        <pc:graphicFrameChg chg="add mod modGraphic">
          <ac:chgData name="Tường SKHĐT" userId="ab9568c39a88b08a" providerId="LiveId" clId="{805CF0FB-80C6-433A-A325-AD1474DF2833}" dt="2023-03-09T03:32:40.644" v="4099" actId="207"/>
          <ac:graphicFrameMkLst>
            <pc:docMk/>
            <pc:sldMk cId="3432425557" sldId="2147473556"/>
            <ac:graphicFrameMk id="3" creationId="{78B08A87-F063-9867-FE22-D971CE6BDB49}"/>
          </ac:graphicFrameMkLst>
        </pc:graphicFrameChg>
      </pc:sldChg>
      <pc:sldChg chg="addSp modSp add mod">
        <pc:chgData name="Tường SKHĐT" userId="ab9568c39a88b08a" providerId="LiveId" clId="{805CF0FB-80C6-433A-A325-AD1474DF2833}" dt="2023-03-09T03:47:25.277" v="4248" actId="1076"/>
        <pc:sldMkLst>
          <pc:docMk/>
          <pc:sldMk cId="3575124141" sldId="2147473557"/>
        </pc:sldMkLst>
        <pc:spChg chg="mod">
          <ac:chgData name="Tường SKHĐT" userId="ab9568c39a88b08a" providerId="LiveId" clId="{805CF0FB-80C6-433A-A325-AD1474DF2833}" dt="2023-03-09T03:47:25.277" v="4248" actId="1076"/>
          <ac:spMkLst>
            <pc:docMk/>
            <pc:sldMk cId="3575124141" sldId="2147473557"/>
            <ac:spMk id="4" creationId="{00000000-0000-0000-0000-000000000000}"/>
          </ac:spMkLst>
        </pc:spChg>
        <pc:graphicFrameChg chg="mod modGraphic">
          <ac:chgData name="Tường SKHĐT" userId="ab9568c39a88b08a" providerId="LiveId" clId="{805CF0FB-80C6-433A-A325-AD1474DF2833}" dt="2023-03-09T03:47:16.602" v="4246" actId="14100"/>
          <ac:graphicFrameMkLst>
            <pc:docMk/>
            <pc:sldMk cId="3575124141" sldId="2147473557"/>
            <ac:graphicFrameMk id="2" creationId="{FBFFDBCD-49A2-B604-F9E9-B81E95DF4EB5}"/>
          </ac:graphicFrameMkLst>
        </pc:graphicFrameChg>
        <pc:graphicFrameChg chg="add mod modGraphic">
          <ac:chgData name="Tường SKHĐT" userId="ab9568c39a88b08a" providerId="LiveId" clId="{805CF0FB-80C6-433A-A325-AD1474DF2833}" dt="2023-03-09T03:47:22.506" v="4247" actId="1076"/>
          <ac:graphicFrameMkLst>
            <pc:docMk/>
            <pc:sldMk cId="3575124141" sldId="2147473557"/>
            <ac:graphicFrameMk id="3" creationId="{08E30D19-EDEA-C759-9BF4-50757C20F971}"/>
          </ac:graphicFrameMkLst>
        </pc:graphicFrameChg>
      </pc:sldChg>
      <pc:sldChg chg="modSp add del mod">
        <pc:chgData name="Tường SKHĐT" userId="ab9568c39a88b08a" providerId="LiveId" clId="{805CF0FB-80C6-433A-A325-AD1474DF2833}" dt="2023-03-08T04:39:05.965" v="2523" actId="2696"/>
        <pc:sldMkLst>
          <pc:docMk/>
          <pc:sldMk cId="657080585" sldId="2147473558"/>
        </pc:sldMkLst>
        <pc:graphicFrameChg chg="mod modGraphic">
          <ac:chgData name="Tường SKHĐT" userId="ab9568c39a88b08a" providerId="LiveId" clId="{805CF0FB-80C6-433A-A325-AD1474DF2833}" dt="2023-03-08T04:38:28.451" v="2516" actId="20577"/>
          <ac:graphicFrameMkLst>
            <pc:docMk/>
            <pc:sldMk cId="657080585" sldId="2147473558"/>
            <ac:graphicFrameMk id="2" creationId="{FBFFDBCD-49A2-B604-F9E9-B81E95DF4EB5}"/>
          </ac:graphicFrameMkLst>
        </pc:graphicFrameChg>
      </pc:sldChg>
      <pc:sldChg chg="addSp delSp modSp add mod">
        <pc:chgData name="Tường SKHĐT" userId="ab9568c39a88b08a" providerId="LiveId" clId="{805CF0FB-80C6-433A-A325-AD1474DF2833}" dt="2023-03-09T09:29:55.433" v="5617" actId="1076"/>
        <pc:sldMkLst>
          <pc:docMk/>
          <pc:sldMk cId="662834304" sldId="2147473559"/>
        </pc:sldMkLst>
        <pc:spChg chg="mod">
          <ac:chgData name="Tường SKHĐT" userId="ab9568c39a88b08a" providerId="LiveId" clId="{805CF0FB-80C6-433A-A325-AD1474DF2833}" dt="2023-03-08T04:43:05.086" v="2787" actId="1076"/>
          <ac:spMkLst>
            <pc:docMk/>
            <pc:sldMk cId="662834304" sldId="2147473559"/>
            <ac:spMk id="4" creationId="{00000000-0000-0000-0000-000000000000}"/>
          </ac:spMkLst>
        </pc:spChg>
        <pc:spChg chg="add del mod">
          <ac:chgData name="Tường SKHĐT" userId="ab9568c39a88b08a" providerId="LiveId" clId="{805CF0FB-80C6-433A-A325-AD1474DF2833}" dt="2023-03-09T09:00:08.098" v="4938" actId="21"/>
          <ac:spMkLst>
            <pc:docMk/>
            <pc:sldMk cId="662834304" sldId="2147473559"/>
            <ac:spMk id="5" creationId="{6732C373-2718-FE5C-C82E-75183F0634A0}"/>
          </ac:spMkLst>
        </pc:spChg>
        <pc:graphicFrameChg chg="del">
          <ac:chgData name="Tường SKHĐT" userId="ab9568c39a88b08a" providerId="LiveId" clId="{805CF0FB-80C6-433A-A325-AD1474DF2833}" dt="2023-03-08T04:36:14.798" v="2407" actId="21"/>
          <ac:graphicFrameMkLst>
            <pc:docMk/>
            <pc:sldMk cId="662834304" sldId="2147473559"/>
            <ac:graphicFrameMk id="2" creationId="{FBFFDBCD-49A2-B604-F9E9-B81E95DF4EB5}"/>
          </ac:graphicFrameMkLst>
        </pc:graphicFrameChg>
        <pc:graphicFrameChg chg="add mod modGraphic">
          <ac:chgData name="Tường SKHĐT" userId="ab9568c39a88b08a" providerId="LiveId" clId="{805CF0FB-80C6-433A-A325-AD1474DF2833}" dt="2023-03-09T09:29:55.433" v="5617" actId="1076"/>
          <ac:graphicFrameMkLst>
            <pc:docMk/>
            <pc:sldMk cId="662834304" sldId="2147473559"/>
            <ac:graphicFrameMk id="3" creationId="{6BBA59B9-D9F6-DED0-B603-5DCA6F827834}"/>
          </ac:graphicFrameMkLst>
        </pc:graphicFrameChg>
      </pc:sldChg>
      <pc:sldChg chg="addSp modSp add mod">
        <pc:chgData name="Tường SKHĐT" userId="ab9568c39a88b08a" providerId="LiveId" clId="{805CF0FB-80C6-433A-A325-AD1474DF2833}" dt="2023-03-09T03:56:09.838" v="4297" actId="14100"/>
        <pc:sldMkLst>
          <pc:docMk/>
          <pc:sldMk cId="1557921189" sldId="2147473560"/>
        </pc:sldMkLst>
        <pc:graphicFrameChg chg="mod modGraphic">
          <ac:chgData name="Tường SKHĐT" userId="ab9568c39a88b08a" providerId="LiveId" clId="{805CF0FB-80C6-433A-A325-AD1474DF2833}" dt="2023-03-09T03:56:05.992" v="4296" actId="20577"/>
          <ac:graphicFrameMkLst>
            <pc:docMk/>
            <pc:sldMk cId="1557921189" sldId="2147473560"/>
            <ac:graphicFrameMk id="2" creationId="{FBFFDBCD-49A2-B604-F9E9-B81E95DF4EB5}"/>
          </ac:graphicFrameMkLst>
        </pc:graphicFrameChg>
        <pc:graphicFrameChg chg="add mod modGraphic">
          <ac:chgData name="Tường SKHĐT" userId="ab9568c39a88b08a" providerId="LiveId" clId="{805CF0FB-80C6-433A-A325-AD1474DF2833}" dt="2023-03-09T03:56:09.838" v="4297" actId="14100"/>
          <ac:graphicFrameMkLst>
            <pc:docMk/>
            <pc:sldMk cId="1557921189" sldId="2147473560"/>
            <ac:graphicFrameMk id="3" creationId="{88BF0CC1-E314-5CE1-FFDA-46134B913C04}"/>
          </ac:graphicFrameMkLst>
        </pc:graphicFrameChg>
      </pc:sldChg>
      <pc:sldChg chg="addSp modSp add mod">
        <pc:chgData name="Tường SKHĐT" userId="ab9568c39a88b08a" providerId="LiveId" clId="{805CF0FB-80C6-433A-A325-AD1474DF2833}" dt="2023-03-09T10:09:40.075" v="5658" actId="20577"/>
        <pc:sldMkLst>
          <pc:docMk/>
          <pc:sldMk cId="3875002478" sldId="2147473561"/>
        </pc:sldMkLst>
        <pc:graphicFrameChg chg="mod modGraphic">
          <ac:chgData name="Tường SKHĐT" userId="ab9568c39a88b08a" providerId="LiveId" clId="{805CF0FB-80C6-433A-A325-AD1474DF2833}" dt="2023-03-09T10:09:40.075" v="5658" actId="20577"/>
          <ac:graphicFrameMkLst>
            <pc:docMk/>
            <pc:sldMk cId="3875002478" sldId="2147473561"/>
            <ac:graphicFrameMk id="2" creationId="{FBFFDBCD-49A2-B604-F9E9-B81E95DF4EB5}"/>
          </ac:graphicFrameMkLst>
        </pc:graphicFrameChg>
        <pc:graphicFrameChg chg="add mod modGraphic">
          <ac:chgData name="Tường SKHĐT" userId="ab9568c39a88b08a" providerId="LiveId" clId="{805CF0FB-80C6-433A-A325-AD1474DF2833}" dt="2023-03-09T10:08:43.480" v="5642" actId="20577"/>
          <ac:graphicFrameMkLst>
            <pc:docMk/>
            <pc:sldMk cId="3875002478" sldId="2147473561"/>
            <ac:graphicFrameMk id="3" creationId="{746C7B22-BD38-B6A5-7666-44553F0C486D}"/>
          </ac:graphicFrameMkLst>
        </pc:graphicFrameChg>
      </pc:sldChg>
      <pc:sldChg chg="modSp add mod">
        <pc:chgData name="Tường SKHĐT" userId="ab9568c39a88b08a" providerId="LiveId" clId="{805CF0FB-80C6-433A-A325-AD1474DF2833}" dt="2023-03-09T08:49:12.300" v="4847" actId="20577"/>
        <pc:sldMkLst>
          <pc:docMk/>
          <pc:sldMk cId="565017184" sldId="2147473562"/>
        </pc:sldMkLst>
        <pc:spChg chg="mod">
          <ac:chgData name="Tường SKHĐT" userId="ab9568c39a88b08a" providerId="LiveId" clId="{805CF0FB-80C6-433A-A325-AD1474DF2833}" dt="2023-03-08T04:41:01.502" v="2611" actId="1076"/>
          <ac:spMkLst>
            <pc:docMk/>
            <pc:sldMk cId="565017184" sldId="2147473562"/>
            <ac:spMk id="4" creationId="{00000000-0000-0000-0000-000000000000}"/>
          </ac:spMkLst>
        </pc:spChg>
        <pc:graphicFrameChg chg="mod modGraphic">
          <ac:chgData name="Tường SKHĐT" userId="ab9568c39a88b08a" providerId="LiveId" clId="{805CF0FB-80C6-433A-A325-AD1474DF2833}" dt="2023-03-09T08:49:12.300" v="4847" actId="20577"/>
          <ac:graphicFrameMkLst>
            <pc:docMk/>
            <pc:sldMk cId="565017184" sldId="2147473562"/>
            <ac:graphicFrameMk id="2" creationId="{FBFFDBCD-49A2-B604-F9E9-B81E95DF4EB5}"/>
          </ac:graphicFrameMkLst>
        </pc:graphicFrameChg>
      </pc:sldChg>
      <pc:sldChg chg="addSp delSp modSp add mod">
        <pc:chgData name="Tường SKHĐT" userId="ab9568c39a88b08a" providerId="LiveId" clId="{805CF0FB-80C6-433A-A325-AD1474DF2833}" dt="2023-03-09T07:50:08.837" v="4494" actId="20577"/>
        <pc:sldMkLst>
          <pc:docMk/>
          <pc:sldMk cId="385818067" sldId="2147473563"/>
        </pc:sldMkLst>
        <pc:spChg chg="mod">
          <ac:chgData name="Tường SKHĐT" userId="ab9568c39a88b08a" providerId="LiveId" clId="{805CF0FB-80C6-433A-A325-AD1474DF2833}" dt="2023-03-09T01:59:27.282" v="3579"/>
          <ac:spMkLst>
            <pc:docMk/>
            <pc:sldMk cId="385818067" sldId="2147473563"/>
            <ac:spMk id="4" creationId="{16D24723-A233-03FF-2329-1817AB93339D}"/>
          </ac:spMkLst>
        </pc:spChg>
        <pc:graphicFrameChg chg="add mod modGraphic">
          <ac:chgData name="Tường SKHĐT" userId="ab9568c39a88b08a" providerId="LiveId" clId="{805CF0FB-80C6-433A-A325-AD1474DF2833}" dt="2023-03-08T09:25:59.819" v="2981" actId="113"/>
          <ac:graphicFrameMkLst>
            <pc:docMk/>
            <pc:sldMk cId="385818067" sldId="2147473563"/>
            <ac:graphicFrameMk id="2" creationId="{818875D1-09D0-2A41-4D2F-610F8152A504}"/>
          </ac:graphicFrameMkLst>
        </pc:graphicFrameChg>
        <pc:graphicFrameChg chg="mod modGraphic">
          <ac:chgData name="Tường SKHĐT" userId="ab9568c39a88b08a" providerId="LiveId" clId="{805CF0FB-80C6-433A-A325-AD1474DF2833}" dt="2023-03-09T07:50:08.837" v="4494" actId="20577"/>
          <ac:graphicFrameMkLst>
            <pc:docMk/>
            <pc:sldMk cId="385818067" sldId="2147473563"/>
            <ac:graphicFrameMk id="8" creationId="{B5E5335D-2EED-82AF-3A59-FAE8BB94EAE1}"/>
          </ac:graphicFrameMkLst>
        </pc:graphicFrameChg>
        <pc:graphicFrameChg chg="del">
          <ac:chgData name="Tường SKHĐT" userId="ab9568c39a88b08a" providerId="LiveId" clId="{805CF0FB-80C6-433A-A325-AD1474DF2833}" dt="2023-03-08T08:32:41.465" v="2951" actId="21"/>
          <ac:graphicFrameMkLst>
            <pc:docMk/>
            <pc:sldMk cId="385818067" sldId="2147473563"/>
            <ac:graphicFrameMk id="10" creationId="{8E7087F5-D658-8CDB-7D18-3EEA8C8807BD}"/>
          </ac:graphicFrameMkLst>
        </pc:graphicFrameChg>
        <pc:cxnChg chg="mod">
          <ac:chgData name="Tường SKHĐT" userId="ab9568c39a88b08a" providerId="LiveId" clId="{805CF0FB-80C6-433A-A325-AD1474DF2833}" dt="2023-03-09T01:59:29.489" v="3580" actId="14100"/>
          <ac:cxnSpMkLst>
            <pc:docMk/>
            <pc:sldMk cId="385818067" sldId="2147473563"/>
            <ac:cxnSpMk id="6" creationId="{FF705920-E1B4-B4D0-9EA4-A27AA5761577}"/>
          </ac:cxnSpMkLst>
        </pc:cxnChg>
      </pc:sldChg>
      <pc:sldChg chg="add del">
        <pc:chgData name="Tường SKHĐT" userId="ab9568c39a88b08a" providerId="LiveId" clId="{805CF0FB-80C6-433A-A325-AD1474DF2833}" dt="2023-03-08T08:28:03.420" v="2815" actId="2696"/>
        <pc:sldMkLst>
          <pc:docMk/>
          <pc:sldMk cId="2362659468" sldId="2147473563"/>
        </pc:sldMkLst>
      </pc:sldChg>
      <pc:sldChg chg="modSp add mod">
        <pc:chgData name="Tường SKHĐT" userId="ab9568c39a88b08a" providerId="LiveId" clId="{805CF0FB-80C6-433A-A325-AD1474DF2833}" dt="2023-03-09T08:01:52.010" v="4536" actId="20577"/>
        <pc:sldMkLst>
          <pc:docMk/>
          <pc:sldMk cId="996757595" sldId="2147473564"/>
        </pc:sldMkLst>
        <pc:spChg chg="mod">
          <ac:chgData name="Tường SKHĐT" userId="ab9568c39a88b08a" providerId="LiveId" clId="{805CF0FB-80C6-433A-A325-AD1474DF2833}" dt="2023-03-09T01:59:39.843" v="3583"/>
          <ac:spMkLst>
            <pc:docMk/>
            <pc:sldMk cId="996757595" sldId="2147473564"/>
            <ac:spMk id="4" creationId="{16D24723-A233-03FF-2329-1817AB93339D}"/>
          </ac:spMkLst>
        </pc:spChg>
        <pc:spChg chg="mod">
          <ac:chgData name="Tường SKHĐT" userId="ab9568c39a88b08a" providerId="LiveId" clId="{805CF0FB-80C6-433A-A325-AD1474DF2833}" dt="2023-03-09T08:01:52.010" v="4536" actId="20577"/>
          <ac:spMkLst>
            <pc:docMk/>
            <pc:sldMk cId="996757595" sldId="2147473564"/>
            <ac:spMk id="25" creationId="{01DC26C3-E6F4-C27A-8624-3A65D81B6008}"/>
          </ac:spMkLst>
        </pc:spChg>
        <pc:cxnChg chg="mod">
          <ac:chgData name="Tường SKHĐT" userId="ab9568c39a88b08a" providerId="LiveId" clId="{805CF0FB-80C6-433A-A325-AD1474DF2833}" dt="2023-03-09T01:59:42.674" v="3584" actId="14100"/>
          <ac:cxnSpMkLst>
            <pc:docMk/>
            <pc:sldMk cId="996757595" sldId="2147473564"/>
            <ac:cxnSpMk id="6" creationId="{FF705920-E1B4-B4D0-9EA4-A27AA5761577}"/>
          </ac:cxnSpMkLst>
        </pc:cxnChg>
      </pc:sldChg>
      <pc:sldChg chg="add del">
        <pc:chgData name="Tường SKHĐT" userId="ab9568c39a88b08a" providerId="LiveId" clId="{805CF0FB-80C6-433A-A325-AD1474DF2833}" dt="2023-03-08T08:32:11.278" v="2945" actId="2696"/>
        <pc:sldMkLst>
          <pc:docMk/>
          <pc:sldMk cId="1576905789" sldId="2147473564"/>
        </pc:sldMkLst>
      </pc:sldChg>
      <pc:sldChg chg="modSp add mod">
        <pc:chgData name="Tường SKHĐT" userId="ab9568c39a88b08a" providerId="LiveId" clId="{805CF0FB-80C6-433A-A325-AD1474DF2833}" dt="2023-03-08T09:34:16.768" v="3330" actId="1076"/>
        <pc:sldMkLst>
          <pc:docMk/>
          <pc:sldMk cId="3515259894" sldId="2147473565"/>
        </pc:sldMkLst>
        <pc:spChg chg="mod">
          <ac:chgData name="Tường SKHĐT" userId="ab9568c39a88b08a" providerId="LiveId" clId="{805CF0FB-80C6-433A-A325-AD1474DF2833}" dt="2023-03-08T09:34:14.860" v="3329" actId="1076"/>
          <ac:spMkLst>
            <pc:docMk/>
            <pc:sldMk cId="3515259894" sldId="2147473565"/>
            <ac:spMk id="4" creationId="{00000000-0000-0000-0000-000000000000}"/>
          </ac:spMkLst>
        </pc:spChg>
        <pc:graphicFrameChg chg="mod modGraphic">
          <ac:chgData name="Tường SKHĐT" userId="ab9568c39a88b08a" providerId="LiveId" clId="{805CF0FB-80C6-433A-A325-AD1474DF2833}" dt="2023-03-08T09:34:16.768" v="3330" actId="1076"/>
          <ac:graphicFrameMkLst>
            <pc:docMk/>
            <pc:sldMk cId="3515259894" sldId="2147473565"/>
            <ac:graphicFrameMk id="2" creationId="{FBFFDBCD-49A2-B604-F9E9-B81E95DF4EB5}"/>
          </ac:graphicFrameMkLst>
        </pc:graphicFrameChg>
      </pc:sldChg>
      <pc:sldChg chg="addSp delSp modSp add mod">
        <pc:chgData name="Tường SKHĐT" userId="ab9568c39a88b08a" providerId="LiveId" clId="{805CF0FB-80C6-433A-A325-AD1474DF2833}" dt="2023-03-09T02:00:22.599" v="3594" actId="14100"/>
        <pc:sldMkLst>
          <pc:docMk/>
          <pc:sldMk cId="1157287981" sldId="2147473566"/>
        </pc:sldMkLst>
        <pc:spChg chg="mod">
          <ac:chgData name="Tường SKHĐT" userId="ab9568c39a88b08a" providerId="LiveId" clId="{805CF0FB-80C6-433A-A325-AD1474DF2833}" dt="2023-03-09T02:00:18.852" v="3593"/>
          <ac:spMkLst>
            <pc:docMk/>
            <pc:sldMk cId="1157287981" sldId="2147473566"/>
            <ac:spMk id="4" creationId="{16D24723-A233-03FF-2329-1817AB93339D}"/>
          </ac:spMkLst>
        </pc:spChg>
        <pc:spChg chg="mod">
          <ac:chgData name="Tường SKHĐT" userId="ab9568c39a88b08a" providerId="LiveId" clId="{805CF0FB-80C6-433A-A325-AD1474DF2833}" dt="2023-03-08T09:57:59.045" v="3444" actId="1076"/>
          <ac:spMkLst>
            <pc:docMk/>
            <pc:sldMk cId="1157287981" sldId="2147473566"/>
            <ac:spMk id="25" creationId="{01DC26C3-E6F4-C27A-8624-3A65D81B6008}"/>
          </ac:spMkLst>
        </pc:spChg>
        <pc:graphicFrameChg chg="add mod modGraphic">
          <ac:chgData name="Tường SKHĐT" userId="ab9568c39a88b08a" providerId="LiveId" clId="{805CF0FB-80C6-433A-A325-AD1474DF2833}" dt="2023-03-08T09:58:01.713" v="3445" actId="1076"/>
          <ac:graphicFrameMkLst>
            <pc:docMk/>
            <pc:sldMk cId="1157287981" sldId="2147473566"/>
            <ac:graphicFrameMk id="5" creationId="{5E276789-81D8-473A-F984-C33FAEC6527A}"/>
          </ac:graphicFrameMkLst>
        </pc:graphicFrameChg>
        <pc:graphicFrameChg chg="add del mod modGraphic">
          <ac:chgData name="Tường SKHĐT" userId="ab9568c39a88b08a" providerId="LiveId" clId="{805CF0FB-80C6-433A-A325-AD1474DF2833}" dt="2023-03-08T09:54:51.445" v="3400"/>
          <ac:graphicFrameMkLst>
            <pc:docMk/>
            <pc:sldMk cId="1157287981" sldId="2147473566"/>
            <ac:graphicFrameMk id="7" creationId="{018EAF03-B8DE-FF5E-5061-D73E786D0E90}"/>
          </ac:graphicFrameMkLst>
        </pc:graphicFrameChg>
        <pc:graphicFrameChg chg="del">
          <ac:chgData name="Tường SKHĐT" userId="ab9568c39a88b08a" providerId="LiveId" clId="{805CF0FB-80C6-433A-A325-AD1474DF2833}" dt="2023-03-08T09:51:00.564" v="3332" actId="21"/>
          <ac:graphicFrameMkLst>
            <pc:docMk/>
            <pc:sldMk cId="1157287981" sldId="2147473566"/>
            <ac:graphicFrameMk id="8" creationId="{B5E5335D-2EED-82AF-3A59-FAE8BB94EAE1}"/>
          </ac:graphicFrameMkLst>
        </pc:graphicFrameChg>
        <pc:graphicFrameChg chg="add del mod modGraphic">
          <ac:chgData name="Tường SKHĐT" userId="ab9568c39a88b08a" providerId="LiveId" clId="{805CF0FB-80C6-433A-A325-AD1474DF2833}" dt="2023-03-08T09:55:41.497" v="3409" actId="21"/>
          <ac:graphicFrameMkLst>
            <pc:docMk/>
            <pc:sldMk cId="1157287981" sldId="2147473566"/>
            <ac:graphicFrameMk id="9" creationId="{F3410E20-C4AF-53E2-BD33-337AFCB0EF41}"/>
          </ac:graphicFrameMkLst>
        </pc:graphicFrameChg>
        <pc:graphicFrameChg chg="add del mod">
          <ac:chgData name="Tường SKHĐT" userId="ab9568c39a88b08a" providerId="LiveId" clId="{805CF0FB-80C6-433A-A325-AD1474DF2833}" dt="2023-03-08T09:55:43.545" v="3411"/>
          <ac:graphicFrameMkLst>
            <pc:docMk/>
            <pc:sldMk cId="1157287981" sldId="2147473566"/>
            <ac:graphicFrameMk id="10" creationId="{293E1CDA-1831-2691-ED28-6D1E04421FCF}"/>
          </ac:graphicFrameMkLst>
        </pc:graphicFrameChg>
        <pc:graphicFrameChg chg="add mod modGraphic">
          <ac:chgData name="Tường SKHĐT" userId="ab9568c39a88b08a" providerId="LiveId" clId="{805CF0FB-80C6-433A-A325-AD1474DF2833}" dt="2023-03-08T09:57:57.124" v="3443" actId="1076"/>
          <ac:graphicFrameMkLst>
            <pc:docMk/>
            <pc:sldMk cId="1157287981" sldId="2147473566"/>
            <ac:graphicFrameMk id="11" creationId="{4B45D7FF-8DC4-EFEE-6185-72256E375CCA}"/>
          </ac:graphicFrameMkLst>
        </pc:graphicFrameChg>
        <pc:picChg chg="del">
          <ac:chgData name="Tường SKHĐT" userId="ab9568c39a88b08a" providerId="LiveId" clId="{805CF0FB-80C6-433A-A325-AD1474DF2833}" dt="2023-03-08T09:51:04.009" v="3334" actId="21"/>
          <ac:picMkLst>
            <pc:docMk/>
            <pc:sldMk cId="1157287981" sldId="2147473566"/>
            <ac:picMk id="2" creationId="{8AD87206-4C50-4DB5-8F5A-727327E5FF65}"/>
          </ac:picMkLst>
        </pc:picChg>
        <pc:picChg chg="del">
          <ac:chgData name="Tường SKHĐT" userId="ab9568c39a88b08a" providerId="LiveId" clId="{805CF0FB-80C6-433A-A325-AD1474DF2833}" dt="2023-03-08T09:51:02.119" v="3333" actId="21"/>
          <ac:picMkLst>
            <pc:docMk/>
            <pc:sldMk cId="1157287981" sldId="2147473566"/>
            <ac:picMk id="3" creationId="{65E2C9CA-C74B-BF6D-7601-969BE1A28E59}"/>
          </ac:picMkLst>
        </pc:picChg>
        <pc:cxnChg chg="mod">
          <ac:chgData name="Tường SKHĐT" userId="ab9568c39a88b08a" providerId="LiveId" clId="{805CF0FB-80C6-433A-A325-AD1474DF2833}" dt="2023-03-09T02:00:22.599" v="3594" actId="14100"/>
          <ac:cxnSpMkLst>
            <pc:docMk/>
            <pc:sldMk cId="1157287981" sldId="2147473566"/>
            <ac:cxnSpMk id="6" creationId="{FF705920-E1B4-B4D0-9EA4-A27AA5761577}"/>
          </ac:cxnSpMkLst>
        </pc:cxnChg>
      </pc:sldChg>
      <pc:sldChg chg="addSp delSp modSp add mod">
        <pc:chgData name="Tường SKHĐT" userId="ab9568c39a88b08a" providerId="LiveId" clId="{805CF0FB-80C6-433A-A325-AD1474DF2833}" dt="2023-03-09T04:21:44.292" v="4345" actId="20577"/>
        <pc:sldMkLst>
          <pc:docMk/>
          <pc:sldMk cId="2301901717" sldId="2147473567"/>
        </pc:sldMkLst>
        <pc:spChg chg="mod">
          <ac:chgData name="Tường SKHĐT" userId="ab9568c39a88b08a" providerId="LiveId" clId="{805CF0FB-80C6-433A-A325-AD1474DF2833}" dt="2023-03-09T02:48:25.210" v="3793" actId="1076"/>
          <ac:spMkLst>
            <pc:docMk/>
            <pc:sldMk cId="2301901717" sldId="2147473567"/>
            <ac:spMk id="4" creationId="{00000000-0000-0000-0000-000000000000}"/>
          </ac:spMkLst>
        </pc:spChg>
        <pc:graphicFrameChg chg="mod modGraphic">
          <ac:chgData name="Tường SKHĐT" userId="ab9568c39a88b08a" providerId="LiveId" clId="{805CF0FB-80C6-433A-A325-AD1474DF2833}" dt="2023-03-09T03:16:08.627" v="4074" actId="1076"/>
          <ac:graphicFrameMkLst>
            <pc:docMk/>
            <pc:sldMk cId="2301901717" sldId="2147473567"/>
            <ac:graphicFrameMk id="2" creationId="{FBFFDBCD-49A2-B604-F9E9-B81E95DF4EB5}"/>
          </ac:graphicFrameMkLst>
        </pc:graphicFrameChg>
        <pc:graphicFrameChg chg="add del mod modGraphic">
          <ac:chgData name="Tường SKHĐT" userId="ab9568c39a88b08a" providerId="LiveId" clId="{805CF0FB-80C6-433A-A325-AD1474DF2833}" dt="2023-03-09T02:59:19.573" v="3936" actId="21"/>
          <ac:graphicFrameMkLst>
            <pc:docMk/>
            <pc:sldMk cId="2301901717" sldId="2147473567"/>
            <ac:graphicFrameMk id="3" creationId="{101903EE-73CB-DC4E-8C89-AF0556607E70}"/>
          </ac:graphicFrameMkLst>
        </pc:graphicFrameChg>
        <pc:graphicFrameChg chg="add mod modGraphic">
          <ac:chgData name="Tường SKHĐT" userId="ab9568c39a88b08a" providerId="LiveId" clId="{805CF0FB-80C6-433A-A325-AD1474DF2833}" dt="2023-03-09T04:21:44.292" v="4345" actId="20577"/>
          <ac:graphicFrameMkLst>
            <pc:docMk/>
            <pc:sldMk cId="2301901717" sldId="2147473567"/>
            <ac:graphicFrameMk id="5" creationId="{92D7994C-159C-9702-DD9E-D007026D48D5}"/>
          </ac:graphicFrameMkLst>
        </pc:graphicFrameChg>
      </pc:sldChg>
      <pc:sldChg chg="add del">
        <pc:chgData name="Tường SKHĐT" userId="ab9568c39a88b08a" providerId="LiveId" clId="{805CF0FB-80C6-433A-A325-AD1474DF2833}" dt="2023-03-09T03:06:02.117" v="3976" actId="2696"/>
        <pc:sldMkLst>
          <pc:docMk/>
          <pc:sldMk cId="3185864811" sldId="2147473568"/>
        </pc:sldMkLst>
      </pc:sldChg>
      <pc:sldChg chg="addSp delSp modSp add mod">
        <pc:chgData name="Tường SKHĐT" userId="ab9568c39a88b08a" providerId="LiveId" clId="{805CF0FB-80C6-433A-A325-AD1474DF2833}" dt="2023-03-09T03:16:15.896" v="4078" actId="1076"/>
        <pc:sldMkLst>
          <pc:docMk/>
          <pc:sldMk cId="1894781878" sldId="2147473569"/>
        </pc:sldMkLst>
        <pc:graphicFrameChg chg="mod modGraphic">
          <ac:chgData name="Tường SKHĐT" userId="ab9568c39a88b08a" providerId="LiveId" clId="{805CF0FB-80C6-433A-A325-AD1474DF2833}" dt="2023-03-09T03:16:15.896" v="4078" actId="1076"/>
          <ac:graphicFrameMkLst>
            <pc:docMk/>
            <pc:sldMk cId="1894781878" sldId="2147473569"/>
            <ac:graphicFrameMk id="2" creationId="{FBFFDBCD-49A2-B604-F9E9-B81E95DF4EB5}"/>
          </ac:graphicFrameMkLst>
        </pc:graphicFrameChg>
        <pc:graphicFrameChg chg="del">
          <ac:chgData name="Tường SKHĐT" userId="ab9568c39a88b08a" providerId="LiveId" clId="{805CF0FB-80C6-433A-A325-AD1474DF2833}" dt="2023-03-09T03:05:58.216" v="3975" actId="21"/>
          <ac:graphicFrameMkLst>
            <pc:docMk/>
            <pc:sldMk cId="1894781878" sldId="2147473569"/>
            <ac:graphicFrameMk id="3" creationId="{2E3E3DAE-54B2-6742-190A-ED1AAD7C7C60}"/>
          </ac:graphicFrameMkLst>
        </pc:graphicFrameChg>
        <pc:graphicFrameChg chg="add mod modGraphic">
          <ac:chgData name="Tường SKHĐT" userId="ab9568c39a88b08a" providerId="LiveId" clId="{805CF0FB-80C6-433A-A325-AD1474DF2833}" dt="2023-03-09T03:13:20.358" v="4042" actId="14100"/>
          <ac:graphicFrameMkLst>
            <pc:docMk/>
            <pc:sldMk cId="1894781878" sldId="2147473569"/>
            <ac:graphicFrameMk id="5" creationId="{2B4146F0-5FAC-C89A-56F3-3309C1B8BC8B}"/>
          </ac:graphicFrameMkLst>
        </pc:graphicFrameChg>
      </pc:sldChg>
      <pc:sldChg chg="addSp modSp add mod">
        <pc:chgData name="Tường SKHĐT" userId="ab9568c39a88b08a" providerId="LiveId" clId="{805CF0FB-80C6-433A-A325-AD1474DF2833}" dt="2023-03-09T04:15:49.136" v="4337" actId="207"/>
        <pc:sldMkLst>
          <pc:docMk/>
          <pc:sldMk cId="2574313621" sldId="2147473570"/>
        </pc:sldMkLst>
        <pc:graphicFrameChg chg="mod modGraphic">
          <ac:chgData name="Tường SKHĐT" userId="ab9568c39a88b08a" providerId="LiveId" clId="{805CF0FB-80C6-433A-A325-AD1474DF2833}" dt="2023-03-09T04:15:49.136" v="4337" actId="207"/>
          <ac:graphicFrameMkLst>
            <pc:docMk/>
            <pc:sldMk cId="2574313621" sldId="2147473570"/>
            <ac:graphicFrameMk id="2" creationId="{FBFFDBCD-49A2-B604-F9E9-B81E95DF4EB5}"/>
          </ac:graphicFrameMkLst>
        </pc:graphicFrameChg>
        <pc:graphicFrameChg chg="add mod modGraphic">
          <ac:chgData name="Tường SKHĐT" userId="ab9568c39a88b08a" providerId="LiveId" clId="{805CF0FB-80C6-433A-A325-AD1474DF2833}" dt="2023-03-09T03:40:37.479" v="4221" actId="207"/>
          <ac:graphicFrameMkLst>
            <pc:docMk/>
            <pc:sldMk cId="2574313621" sldId="2147473570"/>
            <ac:graphicFrameMk id="3" creationId="{666DF257-4A6B-21D1-58A7-3CC0A50693CF}"/>
          </ac:graphicFrameMkLst>
        </pc:graphicFrameChg>
      </pc:sldChg>
      <pc:sldChg chg="addSp modSp add mod">
        <pc:chgData name="Tường SKHĐT" userId="ab9568c39a88b08a" providerId="LiveId" clId="{805CF0FB-80C6-433A-A325-AD1474DF2833}" dt="2023-03-09T07:47:37.598" v="4484" actId="20577"/>
        <pc:sldMkLst>
          <pc:docMk/>
          <pc:sldMk cId="1471350114" sldId="2147473571"/>
        </pc:sldMkLst>
        <pc:graphicFrameChg chg="mod modGraphic">
          <ac:chgData name="Tường SKHĐT" userId="ab9568c39a88b08a" providerId="LiveId" clId="{805CF0FB-80C6-433A-A325-AD1474DF2833}" dt="2023-03-09T07:47:37.598" v="4484" actId="20577"/>
          <ac:graphicFrameMkLst>
            <pc:docMk/>
            <pc:sldMk cId="1471350114" sldId="2147473571"/>
            <ac:graphicFrameMk id="2" creationId="{FBFFDBCD-49A2-B604-F9E9-B81E95DF4EB5}"/>
          </ac:graphicFrameMkLst>
        </pc:graphicFrameChg>
        <pc:graphicFrameChg chg="add mod modGraphic">
          <ac:chgData name="Tường SKHĐT" userId="ab9568c39a88b08a" providerId="LiveId" clId="{805CF0FB-80C6-433A-A325-AD1474DF2833}" dt="2023-03-09T03:49:30.222" v="4264" actId="207"/>
          <ac:graphicFrameMkLst>
            <pc:docMk/>
            <pc:sldMk cId="1471350114" sldId="2147473571"/>
            <ac:graphicFrameMk id="3" creationId="{3AFBC8E4-45A7-6DE9-294A-B5018C870AF5}"/>
          </ac:graphicFrameMkLst>
        </pc:graphicFrameChg>
      </pc:sldChg>
      <pc:sldChg chg="modSp add del mod">
        <pc:chgData name="Tường SKHĐT" userId="ab9568c39a88b08a" providerId="LiveId" clId="{805CF0FB-80C6-433A-A325-AD1474DF2833}" dt="2023-03-09T03:08:08.596" v="4020" actId="2696"/>
        <pc:sldMkLst>
          <pc:docMk/>
          <pc:sldMk cId="751933978" sldId="2147473572"/>
        </pc:sldMkLst>
        <pc:graphicFrameChg chg="mod modGraphic">
          <ac:chgData name="Tường SKHĐT" userId="ab9568c39a88b08a" providerId="LiveId" clId="{805CF0FB-80C6-433A-A325-AD1474DF2833}" dt="2023-03-09T03:07:58.448" v="4018" actId="14100"/>
          <ac:graphicFrameMkLst>
            <pc:docMk/>
            <pc:sldMk cId="751933978" sldId="2147473572"/>
            <ac:graphicFrameMk id="2" creationId="{FBFFDBCD-49A2-B604-F9E9-B81E95DF4EB5}"/>
          </ac:graphicFrameMkLst>
        </pc:graphicFrameChg>
      </pc:sldChg>
      <pc:sldChg chg="addSp modSp add mod">
        <pc:chgData name="Tường SKHĐT" userId="ab9568c39a88b08a" providerId="LiveId" clId="{805CF0FB-80C6-433A-A325-AD1474DF2833}" dt="2023-03-09T09:17:56.249" v="5096" actId="1076"/>
        <pc:sldMkLst>
          <pc:docMk/>
          <pc:sldMk cId="2382640443" sldId="2147473573"/>
        </pc:sldMkLst>
        <pc:graphicFrameChg chg="mod modGraphic">
          <ac:chgData name="Tường SKHĐT" userId="ab9568c39a88b08a" providerId="LiveId" clId="{805CF0FB-80C6-433A-A325-AD1474DF2833}" dt="2023-03-09T09:17:56.249" v="5096" actId="1076"/>
          <ac:graphicFrameMkLst>
            <pc:docMk/>
            <pc:sldMk cId="2382640443" sldId="2147473573"/>
            <ac:graphicFrameMk id="2" creationId="{FBFFDBCD-49A2-B604-F9E9-B81E95DF4EB5}"/>
          </ac:graphicFrameMkLst>
        </pc:graphicFrameChg>
        <pc:graphicFrameChg chg="add mod modGraphic">
          <ac:chgData name="Tường SKHĐT" userId="ab9568c39a88b08a" providerId="LiveId" clId="{805CF0FB-80C6-433A-A325-AD1474DF2833}" dt="2023-03-09T03:52:08.140" v="4275" actId="403"/>
          <ac:graphicFrameMkLst>
            <pc:docMk/>
            <pc:sldMk cId="2382640443" sldId="2147473573"/>
            <ac:graphicFrameMk id="3" creationId="{C8CB4003-4A3D-6F30-7047-EE5887697347}"/>
          </ac:graphicFrameMkLst>
        </pc:graphicFrameChg>
      </pc:sldChg>
      <pc:sldChg chg="addSp delSp modSp add mod">
        <pc:chgData name="Tường SKHĐT" userId="ab9568c39a88b08a" providerId="LiveId" clId="{805CF0FB-80C6-433A-A325-AD1474DF2833}" dt="2023-03-09T10:23:19.419" v="5668" actId="1076"/>
        <pc:sldMkLst>
          <pc:docMk/>
          <pc:sldMk cId="1783682046" sldId="2147473574"/>
        </pc:sldMkLst>
        <pc:graphicFrameChg chg="mod modGraphic">
          <ac:chgData name="Tường SKHĐT" userId="ab9568c39a88b08a" providerId="LiveId" clId="{805CF0FB-80C6-433A-A325-AD1474DF2833}" dt="2023-03-09T10:23:11.671" v="5665" actId="404"/>
          <ac:graphicFrameMkLst>
            <pc:docMk/>
            <pc:sldMk cId="1783682046" sldId="2147473574"/>
            <ac:graphicFrameMk id="8" creationId="{B5E5335D-2EED-82AF-3A59-FAE8BB94EAE1}"/>
          </ac:graphicFrameMkLst>
        </pc:graphicFrameChg>
        <pc:picChg chg="del">
          <ac:chgData name="Tường SKHĐT" userId="ab9568c39a88b08a" providerId="LiveId" clId="{805CF0FB-80C6-433A-A325-AD1474DF2833}" dt="2023-03-09T08:00:54.529" v="4496" actId="21"/>
          <ac:picMkLst>
            <pc:docMk/>
            <pc:sldMk cId="1783682046" sldId="2147473574"/>
            <ac:picMk id="3" creationId="{C3BEF987-00D8-EC17-C0FA-5ED70A56A5FD}"/>
          </ac:picMkLst>
        </pc:picChg>
        <pc:picChg chg="add mod">
          <ac:chgData name="Tường SKHĐT" userId="ab9568c39a88b08a" providerId="LiveId" clId="{805CF0FB-80C6-433A-A325-AD1474DF2833}" dt="2023-03-09T10:23:19.419" v="5668" actId="1076"/>
          <ac:picMkLst>
            <pc:docMk/>
            <pc:sldMk cId="1783682046" sldId="2147473574"/>
            <ac:picMk id="5" creationId="{A3137C45-8C15-1EFE-826B-99FC6F8CE52D}"/>
          </ac:picMkLst>
        </pc:picChg>
        <pc:picChg chg="add mod">
          <ac:chgData name="Tường SKHĐT" userId="ab9568c39a88b08a" providerId="LiveId" clId="{805CF0FB-80C6-433A-A325-AD1474DF2833}" dt="2023-03-09T10:23:17.771" v="5667" actId="1076"/>
          <ac:picMkLst>
            <pc:docMk/>
            <pc:sldMk cId="1783682046" sldId="2147473574"/>
            <ac:picMk id="9" creationId="{812C70B2-E296-1A3A-3ED3-142732768352}"/>
          </ac:picMkLst>
        </pc:picChg>
        <pc:picChg chg="add mod">
          <ac:chgData name="Tường SKHĐT" userId="ab9568c39a88b08a" providerId="LiveId" clId="{805CF0FB-80C6-433A-A325-AD1474DF2833}" dt="2023-03-09T10:23:16.461" v="5666" actId="1076"/>
          <ac:picMkLst>
            <pc:docMk/>
            <pc:sldMk cId="1783682046" sldId="2147473574"/>
            <ac:picMk id="11" creationId="{52E1C36C-0AFE-D81A-CF7D-27AE89FB4FB8}"/>
          </ac:picMkLst>
        </pc:picChg>
      </pc:sldChg>
    </pc:docChg>
  </pc:docChgLst>
  <pc:docChgLst>
    <pc:chgData name="Tường SKHĐT" userId="ab9568c39a88b08a" providerId="LiveId" clId="{C9C9E8F3-8FCD-4EE8-870E-E66814DBD785}"/>
    <pc:docChg chg="undo redo custSel addSld delSld modSld">
      <pc:chgData name="Tường SKHĐT" userId="ab9568c39a88b08a" providerId="LiveId" clId="{C9C9E8F3-8FCD-4EE8-870E-E66814DBD785}" dt="2022-11-23T09:01:27.479" v="4214" actId="20577"/>
      <pc:docMkLst>
        <pc:docMk/>
      </pc:docMkLst>
      <pc:sldChg chg="modSp mod">
        <pc:chgData name="Tường SKHĐT" userId="ab9568c39a88b08a" providerId="LiveId" clId="{C9C9E8F3-8FCD-4EE8-870E-E66814DBD785}" dt="2022-11-23T09:01:27.479" v="4214" actId="20577"/>
        <pc:sldMkLst>
          <pc:docMk/>
          <pc:sldMk cId="0" sldId="261"/>
        </pc:sldMkLst>
        <pc:spChg chg="mod">
          <ac:chgData name="Tường SKHĐT" userId="ab9568c39a88b08a" providerId="LiveId" clId="{C9C9E8F3-8FCD-4EE8-870E-E66814DBD785}" dt="2022-11-23T07:17:32.947" v="1839" actId="20577"/>
          <ac:spMkLst>
            <pc:docMk/>
            <pc:sldMk cId="0" sldId="261"/>
            <ac:spMk id="3" creationId="{A0D5D58A-756E-802D-A09E-1BEA6D184E77}"/>
          </ac:spMkLst>
        </pc:spChg>
        <pc:spChg chg="mod">
          <ac:chgData name="Tường SKHĐT" userId="ab9568c39a88b08a" providerId="LiveId" clId="{C9C9E8F3-8FCD-4EE8-870E-E66814DBD785}" dt="2022-11-23T07:23:33.771" v="2000" actId="20577"/>
          <ac:spMkLst>
            <pc:docMk/>
            <pc:sldMk cId="0" sldId="261"/>
            <ac:spMk id="7" creationId="{7B32A53C-F3B7-D1B5-5C6B-C581C879BE81}"/>
          </ac:spMkLst>
        </pc:spChg>
        <pc:spChg chg="mod">
          <ac:chgData name="Tường SKHĐT" userId="ab9568c39a88b08a" providerId="LiveId" clId="{C9C9E8F3-8FCD-4EE8-870E-E66814DBD785}" dt="2022-11-23T09:01:18.051" v="4204" actId="20577"/>
          <ac:spMkLst>
            <pc:docMk/>
            <pc:sldMk cId="0" sldId="261"/>
            <ac:spMk id="9" creationId="{CCBC95F4-8D55-1939-613D-578BAAF814C2}"/>
          </ac:spMkLst>
        </pc:spChg>
        <pc:spChg chg="mod">
          <ac:chgData name="Tường SKHĐT" userId="ab9568c39a88b08a" providerId="LiveId" clId="{C9C9E8F3-8FCD-4EE8-870E-E66814DBD785}" dt="2022-11-23T07:18:25.749" v="1889" actId="20577"/>
          <ac:spMkLst>
            <pc:docMk/>
            <pc:sldMk cId="0" sldId="261"/>
            <ac:spMk id="16" creationId="{CD1FFBD1-4EFA-ED54-8F81-E3C9559069D4}"/>
          </ac:spMkLst>
        </pc:spChg>
        <pc:spChg chg="mod">
          <ac:chgData name="Tường SKHĐT" userId="ab9568c39a88b08a" providerId="LiveId" clId="{C9C9E8F3-8FCD-4EE8-870E-E66814DBD785}" dt="2022-11-23T09:01:27.479" v="4214" actId="20577"/>
          <ac:spMkLst>
            <pc:docMk/>
            <pc:sldMk cId="0" sldId="261"/>
            <ac:spMk id="17" creationId="{00EFBE51-FFB5-F41A-FAB5-3C930C6D35C3}"/>
          </ac:spMkLst>
        </pc:spChg>
        <pc:spChg chg="mod">
          <ac:chgData name="Tường SKHĐT" userId="ab9568c39a88b08a" providerId="LiveId" clId="{C9C9E8F3-8FCD-4EE8-870E-E66814DBD785}" dt="2022-11-23T07:17:58.544" v="1857" actId="1076"/>
          <ac:spMkLst>
            <pc:docMk/>
            <pc:sldMk cId="0" sldId="261"/>
            <ac:spMk id="19" creationId="{122A9A1C-AFFE-3821-B2D0-B1BF037AF2EA}"/>
          </ac:spMkLst>
        </pc:spChg>
        <pc:spChg chg="mod">
          <ac:chgData name="Tường SKHĐT" userId="ab9568c39a88b08a" providerId="LiveId" clId="{C9C9E8F3-8FCD-4EE8-870E-E66814DBD785}" dt="2022-11-23T07:17:46.684" v="1853" actId="20577"/>
          <ac:spMkLst>
            <pc:docMk/>
            <pc:sldMk cId="0" sldId="261"/>
            <ac:spMk id="720" creationId="{00000000-0000-0000-0000-000000000000}"/>
          </ac:spMkLst>
        </pc:spChg>
        <pc:spChg chg="mod">
          <ac:chgData name="Tường SKHĐT" userId="ab9568c39a88b08a" providerId="LiveId" clId="{C9C9E8F3-8FCD-4EE8-870E-E66814DBD785}" dt="2022-11-23T07:18:09.279" v="1875" actId="20577"/>
          <ac:spMkLst>
            <pc:docMk/>
            <pc:sldMk cId="0" sldId="261"/>
            <ac:spMk id="726" creationId="{00000000-0000-0000-0000-000000000000}"/>
          </ac:spMkLst>
        </pc:spChg>
      </pc:sldChg>
      <pc:sldChg chg="modSp mod">
        <pc:chgData name="Tường SKHĐT" userId="ab9568c39a88b08a" providerId="LiveId" clId="{C9C9E8F3-8FCD-4EE8-870E-E66814DBD785}" dt="2022-11-23T07:17:07.284" v="1811" actId="20577"/>
        <pc:sldMkLst>
          <pc:docMk/>
          <pc:sldMk cId="0" sldId="263"/>
        </pc:sldMkLst>
        <pc:spChg chg="mod">
          <ac:chgData name="Tường SKHĐT" userId="ab9568c39a88b08a" providerId="LiveId" clId="{C9C9E8F3-8FCD-4EE8-870E-E66814DBD785}" dt="2022-11-23T07:16:18.842" v="1782" actId="20577"/>
          <ac:spMkLst>
            <pc:docMk/>
            <pc:sldMk cId="0" sldId="263"/>
            <ac:spMk id="50" creationId="{00000000-0000-0000-0000-000000000000}"/>
          </ac:spMkLst>
        </pc:spChg>
        <pc:spChg chg="mod">
          <ac:chgData name="Tường SKHĐT" userId="ab9568c39a88b08a" providerId="LiveId" clId="{C9C9E8F3-8FCD-4EE8-870E-E66814DBD785}" dt="2022-11-23T07:16:30.631" v="1794" actId="20577"/>
          <ac:spMkLst>
            <pc:docMk/>
            <pc:sldMk cId="0" sldId="263"/>
            <ac:spMk id="65" creationId="{00000000-0000-0000-0000-000000000000}"/>
          </ac:spMkLst>
        </pc:spChg>
        <pc:spChg chg="mod">
          <ac:chgData name="Tường SKHĐT" userId="ab9568c39a88b08a" providerId="LiveId" clId="{C9C9E8F3-8FCD-4EE8-870E-E66814DBD785}" dt="2022-11-23T07:16:45.328" v="1797" actId="688"/>
          <ac:spMkLst>
            <pc:docMk/>
            <pc:sldMk cId="0" sldId="263"/>
            <ac:spMk id="66" creationId="{76FC2223-CBDC-4B1C-A8C6-0DBB61B65684}"/>
          </ac:spMkLst>
        </pc:spChg>
        <pc:spChg chg="mod">
          <ac:chgData name="Tường SKHĐT" userId="ab9568c39a88b08a" providerId="LiveId" clId="{C9C9E8F3-8FCD-4EE8-870E-E66814DBD785}" dt="2022-11-23T07:17:07.284" v="1811" actId="20577"/>
          <ac:spMkLst>
            <pc:docMk/>
            <pc:sldMk cId="0" sldId="263"/>
            <ac:spMk id="67" creationId="{00000000-0000-0000-0000-000000000000}"/>
          </ac:spMkLst>
        </pc:spChg>
      </pc:sldChg>
      <pc:sldChg chg="modSp mod modAnim">
        <pc:chgData name="Tường SKHĐT" userId="ab9568c39a88b08a" providerId="LiveId" clId="{C9C9E8F3-8FCD-4EE8-870E-E66814DBD785}" dt="2022-11-23T03:45:35.871" v="862" actId="14100"/>
        <pc:sldMkLst>
          <pc:docMk/>
          <pc:sldMk cId="3305523253" sldId="405"/>
        </pc:sldMkLst>
        <pc:spChg chg="mod">
          <ac:chgData name="Tường SKHĐT" userId="ab9568c39a88b08a" providerId="LiveId" clId="{C9C9E8F3-8FCD-4EE8-870E-E66814DBD785}" dt="2022-11-23T03:45:06.718" v="832" actId="403"/>
          <ac:spMkLst>
            <pc:docMk/>
            <pc:sldMk cId="3305523253" sldId="405"/>
            <ac:spMk id="2" creationId="{00000000-0000-0000-0000-000000000000}"/>
          </ac:spMkLst>
        </pc:spChg>
        <pc:spChg chg="mod">
          <ac:chgData name="Tường SKHĐT" userId="ab9568c39a88b08a" providerId="LiveId" clId="{C9C9E8F3-8FCD-4EE8-870E-E66814DBD785}" dt="2022-11-23T03:45:18.747" v="859" actId="1035"/>
          <ac:spMkLst>
            <pc:docMk/>
            <pc:sldMk cId="3305523253" sldId="405"/>
            <ac:spMk id="3" creationId="{48C5AA30-B236-37F0-69A7-41FCE41C3A2B}"/>
          </ac:spMkLst>
        </pc:spChg>
        <pc:spChg chg="mod">
          <ac:chgData name="Tường SKHĐT" userId="ab9568c39a88b08a" providerId="LiveId" clId="{C9C9E8F3-8FCD-4EE8-870E-E66814DBD785}" dt="2022-11-23T03:45:18.747" v="859" actId="1035"/>
          <ac:spMkLst>
            <pc:docMk/>
            <pc:sldMk cId="3305523253" sldId="405"/>
            <ac:spMk id="5" creationId="{00000000-0000-0000-0000-000000000000}"/>
          </ac:spMkLst>
        </pc:spChg>
        <pc:spChg chg="mod">
          <ac:chgData name="Tường SKHĐT" userId="ab9568c39a88b08a" providerId="LiveId" clId="{C9C9E8F3-8FCD-4EE8-870E-E66814DBD785}" dt="2022-11-23T03:30:01.001" v="177" actId="20577"/>
          <ac:spMkLst>
            <pc:docMk/>
            <pc:sldMk cId="3305523253" sldId="405"/>
            <ac:spMk id="6" creationId="{78C44184-0452-01DB-9A8A-760F961CBC17}"/>
          </ac:spMkLst>
        </pc:spChg>
        <pc:spChg chg="mod">
          <ac:chgData name="Tường SKHĐT" userId="ab9568c39a88b08a" providerId="LiveId" clId="{C9C9E8F3-8FCD-4EE8-870E-E66814DBD785}" dt="2022-11-23T03:45:18.747" v="859" actId="1035"/>
          <ac:spMkLst>
            <pc:docMk/>
            <pc:sldMk cId="3305523253" sldId="405"/>
            <ac:spMk id="9" creationId="{00000000-0000-0000-0000-000000000000}"/>
          </ac:spMkLst>
        </pc:spChg>
        <pc:spChg chg="mod">
          <ac:chgData name="Tường SKHĐT" userId="ab9568c39a88b08a" providerId="LiveId" clId="{C9C9E8F3-8FCD-4EE8-870E-E66814DBD785}" dt="2022-11-23T03:45:18.747" v="859" actId="1035"/>
          <ac:spMkLst>
            <pc:docMk/>
            <pc:sldMk cId="3305523253" sldId="405"/>
            <ac:spMk id="20" creationId="{00000000-0000-0000-0000-000000000000}"/>
          </ac:spMkLst>
        </pc:spChg>
        <pc:spChg chg="mod">
          <ac:chgData name="Tường SKHĐT" userId="ab9568c39a88b08a" providerId="LiveId" clId="{C9C9E8F3-8FCD-4EE8-870E-E66814DBD785}" dt="2022-11-23T03:45:18.747" v="859" actId="1035"/>
          <ac:spMkLst>
            <pc:docMk/>
            <pc:sldMk cId="3305523253" sldId="405"/>
            <ac:spMk id="21" creationId="{00000000-0000-0000-0000-000000000000}"/>
          </ac:spMkLst>
        </pc:spChg>
        <pc:spChg chg="mod">
          <ac:chgData name="Tường SKHĐT" userId="ab9568c39a88b08a" providerId="LiveId" clId="{C9C9E8F3-8FCD-4EE8-870E-E66814DBD785}" dt="2022-11-23T03:45:18.747" v="859" actId="1035"/>
          <ac:spMkLst>
            <pc:docMk/>
            <pc:sldMk cId="3305523253" sldId="405"/>
            <ac:spMk id="22" creationId="{00000000-0000-0000-0000-000000000000}"/>
          </ac:spMkLst>
        </pc:spChg>
        <pc:spChg chg="mod">
          <ac:chgData name="Tường SKHĐT" userId="ab9568c39a88b08a" providerId="LiveId" clId="{C9C9E8F3-8FCD-4EE8-870E-E66814DBD785}" dt="2022-11-23T03:45:35.871" v="862" actId="14100"/>
          <ac:spMkLst>
            <pc:docMk/>
            <pc:sldMk cId="3305523253" sldId="405"/>
            <ac:spMk id="24" creationId="{00000000-0000-0000-0000-000000000000}"/>
          </ac:spMkLst>
        </pc:spChg>
        <pc:spChg chg="mod">
          <ac:chgData name="Tường SKHĐT" userId="ab9568c39a88b08a" providerId="LiveId" clId="{C9C9E8F3-8FCD-4EE8-870E-E66814DBD785}" dt="2022-11-23T03:31:31.798" v="236" actId="1076"/>
          <ac:spMkLst>
            <pc:docMk/>
            <pc:sldMk cId="3305523253" sldId="405"/>
            <ac:spMk id="25" creationId="{00000000-0000-0000-0000-000000000000}"/>
          </ac:spMkLst>
        </pc:spChg>
        <pc:spChg chg="mod">
          <ac:chgData name="Tường SKHĐT" userId="ab9568c39a88b08a" providerId="LiveId" clId="{C9C9E8F3-8FCD-4EE8-870E-E66814DBD785}" dt="2022-11-23T03:31:25.994" v="234" actId="1076"/>
          <ac:spMkLst>
            <pc:docMk/>
            <pc:sldMk cId="3305523253" sldId="405"/>
            <ac:spMk id="26" creationId="{00000000-0000-0000-0000-000000000000}"/>
          </ac:spMkLst>
        </pc:spChg>
        <pc:spChg chg="mod">
          <ac:chgData name="Tường SKHĐT" userId="ab9568c39a88b08a" providerId="LiveId" clId="{C9C9E8F3-8FCD-4EE8-870E-E66814DBD785}" dt="2022-11-23T03:45:18.747" v="859" actId="1035"/>
          <ac:spMkLst>
            <pc:docMk/>
            <pc:sldMk cId="3305523253" sldId="405"/>
            <ac:spMk id="28" creationId="{00000000-0000-0000-0000-000000000000}"/>
          </ac:spMkLst>
        </pc:spChg>
        <pc:grpChg chg="mod">
          <ac:chgData name="Tường SKHĐT" userId="ab9568c39a88b08a" providerId="LiveId" clId="{C9C9E8F3-8FCD-4EE8-870E-E66814DBD785}" dt="2022-11-23T03:45:18.747" v="859" actId="1035"/>
          <ac:grpSpMkLst>
            <pc:docMk/>
            <pc:sldMk cId="3305523253" sldId="405"/>
            <ac:grpSpMk id="12" creationId="{00000000-0000-0000-0000-000000000000}"/>
          </ac:grpSpMkLst>
        </pc:grpChg>
        <pc:grpChg chg="mod">
          <ac:chgData name="Tường SKHĐT" userId="ab9568c39a88b08a" providerId="LiveId" clId="{C9C9E8F3-8FCD-4EE8-870E-E66814DBD785}" dt="2022-11-23T03:45:30.746" v="861" actId="1076"/>
          <ac:grpSpMkLst>
            <pc:docMk/>
            <pc:sldMk cId="3305523253" sldId="405"/>
            <ac:grpSpMk id="15" creationId="{00000000-0000-0000-0000-000000000000}"/>
          </ac:grpSpMkLst>
        </pc:grpChg>
        <pc:picChg chg="mod">
          <ac:chgData name="Tường SKHĐT" userId="ab9568c39a88b08a" providerId="LiveId" clId="{C9C9E8F3-8FCD-4EE8-870E-E66814DBD785}" dt="2022-11-23T03:45:24.965" v="860" actId="1076"/>
          <ac:picMkLst>
            <pc:docMk/>
            <pc:sldMk cId="3305523253" sldId="405"/>
            <ac:picMk id="4" creationId="{3D36D077-5229-8808-BDBC-C79EAFAAF8BD}"/>
          </ac:picMkLst>
        </pc:picChg>
        <pc:picChg chg="mod">
          <ac:chgData name="Tường SKHĐT" userId="ab9568c39a88b08a" providerId="LiveId" clId="{C9C9E8F3-8FCD-4EE8-870E-E66814DBD785}" dt="2022-11-23T03:45:18.747" v="859" actId="1035"/>
          <ac:picMkLst>
            <pc:docMk/>
            <pc:sldMk cId="3305523253" sldId="405"/>
            <ac:picMk id="8" creationId="{566C6FD6-7255-CA0B-050A-BF3FFA3371FE}"/>
          </ac:picMkLst>
        </pc:picChg>
        <pc:picChg chg="mod">
          <ac:chgData name="Tường SKHĐT" userId="ab9568c39a88b08a" providerId="LiveId" clId="{C9C9E8F3-8FCD-4EE8-870E-E66814DBD785}" dt="2022-11-23T03:45:18.747" v="859" actId="1035"/>
          <ac:picMkLst>
            <pc:docMk/>
            <pc:sldMk cId="3305523253" sldId="405"/>
            <ac:picMk id="10" creationId="{A5311436-773C-DD72-49E5-6048D5B47A32}"/>
          </ac:picMkLst>
        </pc:picChg>
        <pc:picChg chg="mod">
          <ac:chgData name="Tường SKHĐT" userId="ab9568c39a88b08a" providerId="LiveId" clId="{C9C9E8F3-8FCD-4EE8-870E-E66814DBD785}" dt="2022-11-23T03:45:18.747" v="859" actId="1035"/>
          <ac:picMkLst>
            <pc:docMk/>
            <pc:sldMk cId="3305523253" sldId="405"/>
            <ac:picMk id="11" creationId="{1E77B572-C228-F655-92EF-7ABDC1A72BFA}"/>
          </ac:picMkLst>
        </pc:picChg>
      </pc:sldChg>
      <pc:sldChg chg="delSp modSp mod">
        <pc:chgData name="Tường SKHĐT" userId="ab9568c39a88b08a" providerId="LiveId" clId="{C9C9E8F3-8FCD-4EE8-870E-E66814DBD785}" dt="2022-11-23T08:58:42.292" v="4189" actId="478"/>
        <pc:sldMkLst>
          <pc:docMk/>
          <pc:sldMk cId="2024374373" sldId="434"/>
        </pc:sldMkLst>
        <pc:spChg chg="mod">
          <ac:chgData name="Tường SKHĐT" userId="ab9568c39a88b08a" providerId="LiveId" clId="{C9C9E8F3-8FCD-4EE8-870E-E66814DBD785}" dt="2022-11-23T03:34:15.057" v="256" actId="207"/>
          <ac:spMkLst>
            <pc:docMk/>
            <pc:sldMk cId="2024374373" sldId="434"/>
            <ac:spMk id="2" creationId="{00000000-0000-0000-0000-000000000000}"/>
          </ac:spMkLst>
        </pc:spChg>
        <pc:spChg chg="mod">
          <ac:chgData name="Tường SKHĐT" userId="ab9568c39a88b08a" providerId="LiveId" clId="{C9C9E8F3-8FCD-4EE8-870E-E66814DBD785}" dt="2022-11-23T03:33:36.136" v="250" actId="20577"/>
          <ac:spMkLst>
            <pc:docMk/>
            <pc:sldMk cId="2024374373" sldId="434"/>
            <ac:spMk id="4" creationId="{00000000-0000-0000-0000-000000000000}"/>
          </ac:spMkLst>
        </pc:spChg>
        <pc:spChg chg="mod">
          <ac:chgData name="Tường SKHĐT" userId="ab9568c39a88b08a" providerId="LiveId" clId="{C9C9E8F3-8FCD-4EE8-870E-E66814DBD785}" dt="2022-11-23T03:34:23.503" v="260" actId="20577"/>
          <ac:spMkLst>
            <pc:docMk/>
            <pc:sldMk cId="2024374373" sldId="434"/>
            <ac:spMk id="15" creationId="{00000000-0000-0000-0000-000000000000}"/>
          </ac:spMkLst>
        </pc:spChg>
        <pc:spChg chg="mod">
          <ac:chgData name="Tường SKHĐT" userId="ab9568c39a88b08a" providerId="LiveId" clId="{C9C9E8F3-8FCD-4EE8-870E-E66814DBD785}" dt="2022-11-23T03:34:29.913" v="264" actId="20577"/>
          <ac:spMkLst>
            <pc:docMk/>
            <pc:sldMk cId="2024374373" sldId="434"/>
            <ac:spMk id="16" creationId="{00000000-0000-0000-0000-000000000000}"/>
          </ac:spMkLst>
        </pc:spChg>
        <pc:spChg chg="mod">
          <ac:chgData name="Tường SKHĐT" userId="ab9568c39a88b08a" providerId="LiveId" clId="{C9C9E8F3-8FCD-4EE8-870E-E66814DBD785}" dt="2022-11-23T03:34:37.646" v="273" actId="20577"/>
          <ac:spMkLst>
            <pc:docMk/>
            <pc:sldMk cId="2024374373" sldId="434"/>
            <ac:spMk id="17" creationId="{00000000-0000-0000-0000-000000000000}"/>
          </ac:spMkLst>
        </pc:spChg>
        <pc:spChg chg="mod">
          <ac:chgData name="Tường SKHĐT" userId="ab9568c39a88b08a" providerId="LiveId" clId="{C9C9E8F3-8FCD-4EE8-870E-E66814DBD785}" dt="2022-11-23T03:34:34.555" v="272" actId="20577"/>
          <ac:spMkLst>
            <pc:docMk/>
            <pc:sldMk cId="2024374373" sldId="434"/>
            <ac:spMk id="18" creationId="{00000000-0000-0000-0000-000000000000}"/>
          </ac:spMkLst>
        </pc:spChg>
        <pc:cxnChg chg="del">
          <ac:chgData name="Tường SKHĐT" userId="ab9568c39a88b08a" providerId="LiveId" clId="{C9C9E8F3-8FCD-4EE8-870E-E66814DBD785}" dt="2022-11-23T08:58:42.292" v="4189" actId="478"/>
          <ac:cxnSpMkLst>
            <pc:docMk/>
            <pc:sldMk cId="2024374373" sldId="434"/>
            <ac:cxnSpMk id="11" creationId="{00000000-0000-0000-0000-000000000000}"/>
          </ac:cxnSpMkLst>
        </pc:cxnChg>
        <pc:cxnChg chg="del">
          <ac:chgData name="Tường SKHĐT" userId="ab9568c39a88b08a" providerId="LiveId" clId="{C9C9E8F3-8FCD-4EE8-870E-E66814DBD785}" dt="2022-11-23T08:58:40.620" v="4188" actId="478"/>
          <ac:cxnSpMkLst>
            <pc:docMk/>
            <pc:sldMk cId="2024374373" sldId="434"/>
            <ac:cxnSpMk id="13" creationId="{00000000-0000-0000-0000-000000000000}"/>
          </ac:cxnSpMkLst>
        </pc:cxnChg>
        <pc:cxnChg chg="del">
          <ac:chgData name="Tường SKHĐT" userId="ab9568c39a88b08a" providerId="LiveId" clId="{C9C9E8F3-8FCD-4EE8-870E-E66814DBD785}" dt="2022-11-23T08:58:39.698" v="4187" actId="478"/>
          <ac:cxnSpMkLst>
            <pc:docMk/>
            <pc:sldMk cId="2024374373" sldId="434"/>
            <ac:cxnSpMk id="14" creationId="{00000000-0000-0000-0000-000000000000}"/>
          </ac:cxnSpMkLst>
        </pc:cxnChg>
      </pc:sldChg>
      <pc:sldChg chg="del">
        <pc:chgData name="Tường SKHĐT" userId="ab9568c39a88b08a" providerId="LiveId" clId="{C9C9E8F3-8FCD-4EE8-870E-E66814DBD785}" dt="2022-11-23T03:27:05.051" v="146" actId="2696"/>
        <pc:sldMkLst>
          <pc:docMk/>
          <pc:sldMk cId="2363256103" sldId="436"/>
        </pc:sldMkLst>
      </pc:sldChg>
      <pc:sldChg chg="delSp modSp add mod">
        <pc:chgData name="Tường SKHĐT" userId="ab9568c39a88b08a" providerId="LiveId" clId="{C9C9E8F3-8FCD-4EE8-870E-E66814DBD785}" dt="2022-11-23T07:03:17.350" v="1290" actId="403"/>
        <pc:sldMkLst>
          <pc:docMk/>
          <pc:sldMk cId="2091478311" sldId="438"/>
        </pc:sldMkLst>
        <pc:spChg chg="mod">
          <ac:chgData name="Tường SKHĐT" userId="ab9568c39a88b08a" providerId="LiveId" clId="{C9C9E8F3-8FCD-4EE8-870E-E66814DBD785}" dt="2022-11-23T07:03:17.350" v="1290" actId="403"/>
          <ac:spMkLst>
            <pc:docMk/>
            <pc:sldMk cId="2091478311" sldId="438"/>
            <ac:spMk id="3" creationId="{00000000-0000-0000-0000-000000000000}"/>
          </ac:spMkLst>
        </pc:spChg>
        <pc:spChg chg="mod">
          <ac:chgData name="Tường SKHĐT" userId="ab9568c39a88b08a" providerId="LiveId" clId="{C9C9E8F3-8FCD-4EE8-870E-E66814DBD785}" dt="2022-11-23T07:03:07.082" v="1284" actId="20577"/>
          <ac:spMkLst>
            <pc:docMk/>
            <pc:sldMk cId="2091478311" sldId="438"/>
            <ac:spMk id="6" creationId="{3A8D298E-9402-0E46-FDD1-28289D68E590}"/>
          </ac:spMkLst>
        </pc:spChg>
        <pc:cxnChg chg="del">
          <ac:chgData name="Tường SKHĐT" userId="ab9568c39a88b08a" providerId="LiveId" clId="{C9C9E8F3-8FCD-4EE8-870E-E66814DBD785}" dt="2022-11-23T07:03:09.985" v="1287" actId="478"/>
          <ac:cxnSpMkLst>
            <pc:docMk/>
            <pc:sldMk cId="2091478311" sldId="438"/>
            <ac:cxnSpMk id="11" creationId="{00000000-0000-0000-0000-000000000000}"/>
          </ac:cxnSpMkLst>
        </pc:cxnChg>
        <pc:cxnChg chg="del">
          <ac:chgData name="Tường SKHĐT" userId="ab9568c39a88b08a" providerId="LiveId" clId="{C9C9E8F3-8FCD-4EE8-870E-E66814DBD785}" dt="2022-11-23T07:03:08.679" v="1285" actId="478"/>
          <ac:cxnSpMkLst>
            <pc:docMk/>
            <pc:sldMk cId="2091478311" sldId="438"/>
            <ac:cxnSpMk id="13" creationId="{00000000-0000-0000-0000-000000000000}"/>
          </ac:cxnSpMkLst>
        </pc:cxnChg>
        <pc:cxnChg chg="del">
          <ac:chgData name="Tường SKHĐT" userId="ab9568c39a88b08a" providerId="LiveId" clId="{C9C9E8F3-8FCD-4EE8-870E-E66814DBD785}" dt="2022-11-23T07:03:09.475" v="1286" actId="478"/>
          <ac:cxnSpMkLst>
            <pc:docMk/>
            <pc:sldMk cId="2091478311" sldId="438"/>
            <ac:cxnSpMk id="14" creationId="{00000000-0000-0000-0000-000000000000}"/>
          </ac:cxnSpMkLst>
        </pc:cxnChg>
      </pc:sldChg>
      <pc:sldChg chg="del">
        <pc:chgData name="Tường SKHĐT" userId="ab9568c39a88b08a" providerId="LiveId" clId="{C9C9E8F3-8FCD-4EE8-870E-E66814DBD785}" dt="2022-11-23T07:14:08.002" v="1644" actId="2696"/>
        <pc:sldMkLst>
          <pc:docMk/>
          <pc:sldMk cId="421919259" sldId="439"/>
        </pc:sldMkLst>
      </pc:sldChg>
      <pc:sldChg chg="delSp modSp mod">
        <pc:chgData name="Tường SKHĐT" userId="ab9568c39a88b08a" providerId="LiveId" clId="{C9C9E8F3-8FCD-4EE8-870E-E66814DBD785}" dt="2022-11-23T07:06:02.092" v="1332" actId="1076"/>
        <pc:sldMkLst>
          <pc:docMk/>
          <pc:sldMk cId="3146323479" sldId="449"/>
        </pc:sldMkLst>
        <pc:spChg chg="mod">
          <ac:chgData name="Tường SKHĐT" userId="ab9568c39a88b08a" providerId="LiveId" clId="{C9C9E8F3-8FCD-4EE8-870E-E66814DBD785}" dt="2022-11-23T07:06:02.092" v="1332" actId="1076"/>
          <ac:spMkLst>
            <pc:docMk/>
            <pc:sldMk cId="3146323479" sldId="449"/>
            <ac:spMk id="2" creationId="{4219F808-181B-0133-F1E0-2E11448658B7}"/>
          </ac:spMkLst>
        </pc:spChg>
        <pc:spChg chg="mod">
          <ac:chgData name="Tường SKHĐT" userId="ab9568c39a88b08a" providerId="LiveId" clId="{C9C9E8F3-8FCD-4EE8-870E-E66814DBD785}" dt="2022-11-23T07:01:56.106" v="1279" actId="20577"/>
          <ac:spMkLst>
            <pc:docMk/>
            <pc:sldMk cId="3146323479" sldId="449"/>
            <ac:spMk id="3" creationId="{22B2B715-653C-5238-09BE-B01B91D4BD2D}"/>
          </ac:spMkLst>
        </pc:spChg>
        <pc:spChg chg="mod">
          <ac:chgData name="Tường SKHĐT" userId="ab9568c39a88b08a" providerId="LiveId" clId="{C9C9E8F3-8FCD-4EE8-870E-E66814DBD785}" dt="2022-11-23T03:51:17.722" v="1221" actId="20577"/>
          <ac:spMkLst>
            <pc:docMk/>
            <pc:sldMk cId="3146323479" sldId="449"/>
            <ac:spMk id="8" creationId="{1B2B3B43-1FE8-D585-2205-9EB6EFD5B656}"/>
          </ac:spMkLst>
        </pc:spChg>
        <pc:cxnChg chg="del">
          <ac:chgData name="Tường SKHĐT" userId="ab9568c39a88b08a" providerId="LiveId" clId="{C9C9E8F3-8FCD-4EE8-870E-E66814DBD785}" dt="2022-11-23T03:51:35.120" v="1231" actId="478"/>
          <ac:cxnSpMkLst>
            <pc:docMk/>
            <pc:sldMk cId="3146323479" sldId="449"/>
            <ac:cxnSpMk id="13" creationId="{00000000-0000-0000-0000-000000000000}"/>
          </ac:cxnSpMkLst>
        </pc:cxnChg>
        <pc:cxnChg chg="del">
          <ac:chgData name="Tường SKHĐT" userId="ab9568c39a88b08a" providerId="LiveId" clId="{C9C9E8F3-8FCD-4EE8-870E-E66814DBD785}" dt="2022-11-23T03:51:36.975" v="1232" actId="478"/>
          <ac:cxnSpMkLst>
            <pc:docMk/>
            <pc:sldMk cId="3146323479" sldId="449"/>
            <ac:cxnSpMk id="14" creationId="{00000000-0000-0000-0000-000000000000}"/>
          </ac:cxnSpMkLst>
        </pc:cxnChg>
      </pc:sldChg>
      <pc:sldChg chg="delSp modSp mod">
        <pc:chgData name="Tường SKHĐT" userId="ab9568c39a88b08a" providerId="LiveId" clId="{C9C9E8F3-8FCD-4EE8-870E-E66814DBD785}" dt="2022-11-23T07:29:33.414" v="2163" actId="1076"/>
        <pc:sldMkLst>
          <pc:docMk/>
          <pc:sldMk cId="1874412585" sldId="456"/>
        </pc:sldMkLst>
        <pc:spChg chg="mod">
          <ac:chgData name="Tường SKHĐT" userId="ab9568c39a88b08a" providerId="LiveId" clId="{C9C9E8F3-8FCD-4EE8-870E-E66814DBD785}" dt="2022-11-23T07:27:56.010" v="2082" actId="14100"/>
          <ac:spMkLst>
            <pc:docMk/>
            <pc:sldMk cId="1874412585" sldId="456"/>
            <ac:spMk id="3" creationId="{8B2C192C-AB63-DBEA-1D8C-42E44743C47D}"/>
          </ac:spMkLst>
        </pc:spChg>
        <pc:spChg chg="mod">
          <ac:chgData name="Tường SKHĐT" userId="ab9568c39a88b08a" providerId="LiveId" clId="{C9C9E8F3-8FCD-4EE8-870E-E66814DBD785}" dt="2022-11-23T07:27:43.082" v="2076" actId="14100"/>
          <ac:spMkLst>
            <pc:docMk/>
            <pc:sldMk cId="1874412585" sldId="456"/>
            <ac:spMk id="5" creationId="{317E31F9-193C-369F-5DF4-7E5A96DF844E}"/>
          </ac:spMkLst>
        </pc:spChg>
        <pc:spChg chg="mod">
          <ac:chgData name="Tường SKHĐT" userId="ab9568c39a88b08a" providerId="LiveId" clId="{C9C9E8F3-8FCD-4EE8-870E-E66814DBD785}" dt="2022-11-23T07:24:12.544" v="2022" actId="20577"/>
          <ac:spMkLst>
            <pc:docMk/>
            <pc:sldMk cId="1874412585" sldId="456"/>
            <ac:spMk id="6" creationId="{5A784772-9AFF-9817-BFEB-830A04F72407}"/>
          </ac:spMkLst>
        </pc:spChg>
        <pc:spChg chg="mod">
          <ac:chgData name="Tường SKHĐT" userId="ab9568c39a88b08a" providerId="LiveId" clId="{C9C9E8F3-8FCD-4EE8-870E-E66814DBD785}" dt="2022-11-23T07:27:33.614" v="2073" actId="1076"/>
          <ac:spMkLst>
            <pc:docMk/>
            <pc:sldMk cId="1874412585" sldId="456"/>
            <ac:spMk id="7" creationId="{55139415-EB3A-98C9-F5D5-67D20FDE84D0}"/>
          </ac:spMkLst>
        </pc:spChg>
        <pc:spChg chg="mod">
          <ac:chgData name="Tường SKHĐT" userId="ab9568c39a88b08a" providerId="LiveId" clId="{C9C9E8F3-8FCD-4EE8-870E-E66814DBD785}" dt="2022-11-23T07:27:53.624" v="2081" actId="1076"/>
          <ac:spMkLst>
            <pc:docMk/>
            <pc:sldMk cId="1874412585" sldId="456"/>
            <ac:spMk id="10" creationId="{0F72088C-B855-D594-7591-EC3740623D95}"/>
          </ac:spMkLst>
        </pc:spChg>
        <pc:spChg chg="mod">
          <ac:chgData name="Tường SKHĐT" userId="ab9568c39a88b08a" providerId="LiveId" clId="{C9C9E8F3-8FCD-4EE8-870E-E66814DBD785}" dt="2022-11-23T07:28:24.848" v="2106" actId="1076"/>
          <ac:spMkLst>
            <pc:docMk/>
            <pc:sldMk cId="1874412585" sldId="456"/>
            <ac:spMk id="17" creationId="{B86506AC-E08B-E0AB-E490-F42569C546EF}"/>
          </ac:spMkLst>
        </pc:spChg>
        <pc:spChg chg="mod">
          <ac:chgData name="Tường SKHĐT" userId="ab9568c39a88b08a" providerId="LiveId" clId="{C9C9E8F3-8FCD-4EE8-870E-E66814DBD785}" dt="2022-11-23T07:28:26.772" v="2107" actId="1076"/>
          <ac:spMkLst>
            <pc:docMk/>
            <pc:sldMk cId="1874412585" sldId="456"/>
            <ac:spMk id="18" creationId="{537F093D-091C-8A3B-3965-AD7F8AE52E18}"/>
          </ac:spMkLst>
        </pc:spChg>
        <pc:spChg chg="mod">
          <ac:chgData name="Tường SKHĐT" userId="ab9568c39a88b08a" providerId="LiveId" clId="{C9C9E8F3-8FCD-4EE8-870E-E66814DBD785}" dt="2022-11-23T07:27:02.862" v="2063" actId="1076"/>
          <ac:spMkLst>
            <pc:docMk/>
            <pc:sldMk cId="1874412585" sldId="456"/>
            <ac:spMk id="20" creationId="{8DBB3710-6CCC-899D-86FE-5692DDA83E22}"/>
          </ac:spMkLst>
        </pc:spChg>
        <pc:spChg chg="mod">
          <ac:chgData name="Tường SKHĐT" userId="ab9568c39a88b08a" providerId="LiveId" clId="{C9C9E8F3-8FCD-4EE8-870E-E66814DBD785}" dt="2022-11-23T07:27:08.208" v="2064" actId="1076"/>
          <ac:spMkLst>
            <pc:docMk/>
            <pc:sldMk cId="1874412585" sldId="456"/>
            <ac:spMk id="21" creationId="{2E378215-0949-CC34-ECC5-24C02722B2E2}"/>
          </ac:spMkLst>
        </pc:spChg>
        <pc:spChg chg="mod">
          <ac:chgData name="Tường SKHĐT" userId="ab9568c39a88b08a" providerId="LiveId" clId="{C9C9E8F3-8FCD-4EE8-870E-E66814DBD785}" dt="2022-11-23T07:26:52.782" v="2058" actId="1076"/>
          <ac:spMkLst>
            <pc:docMk/>
            <pc:sldMk cId="1874412585" sldId="456"/>
            <ac:spMk id="23" creationId="{220A0C14-EAE0-8BFC-6E3B-2AB7543302B3}"/>
          </ac:spMkLst>
        </pc:spChg>
        <pc:spChg chg="mod">
          <ac:chgData name="Tường SKHĐT" userId="ab9568c39a88b08a" providerId="LiveId" clId="{C9C9E8F3-8FCD-4EE8-870E-E66814DBD785}" dt="2022-11-23T07:29:22.450" v="2160" actId="403"/>
          <ac:spMkLst>
            <pc:docMk/>
            <pc:sldMk cId="1874412585" sldId="456"/>
            <ac:spMk id="28" creationId="{9A53EABD-75D1-4108-3873-BE49A7248B6A}"/>
          </ac:spMkLst>
        </pc:spChg>
        <pc:spChg chg="mod">
          <ac:chgData name="Tường SKHĐT" userId="ab9568c39a88b08a" providerId="LiveId" clId="{C9C9E8F3-8FCD-4EE8-870E-E66814DBD785}" dt="2022-11-23T07:28:51.002" v="2149" actId="403"/>
          <ac:spMkLst>
            <pc:docMk/>
            <pc:sldMk cId="1874412585" sldId="456"/>
            <ac:spMk id="31" creationId="{A3ADE812-163C-C99E-D1AB-1EC954845396}"/>
          </ac:spMkLst>
        </pc:spChg>
        <pc:spChg chg="mod">
          <ac:chgData name="Tường SKHĐT" userId="ab9568c39a88b08a" providerId="LiveId" clId="{C9C9E8F3-8FCD-4EE8-870E-E66814DBD785}" dt="2022-11-23T07:29:02.628" v="2154" actId="403"/>
          <ac:spMkLst>
            <pc:docMk/>
            <pc:sldMk cId="1874412585" sldId="456"/>
            <ac:spMk id="33" creationId="{4E9DC88D-28B0-172D-7542-C9BFA7DA475D}"/>
          </ac:spMkLst>
        </pc:spChg>
        <pc:spChg chg="mod">
          <ac:chgData name="Tường SKHĐT" userId="ab9568c39a88b08a" providerId="LiveId" clId="{C9C9E8F3-8FCD-4EE8-870E-E66814DBD785}" dt="2022-11-23T07:28:54.438" v="2150" actId="1076"/>
          <ac:spMkLst>
            <pc:docMk/>
            <pc:sldMk cId="1874412585" sldId="456"/>
            <ac:spMk id="34" creationId="{41C25771-F278-76B6-EB7C-4C41F290C9FE}"/>
          </ac:spMkLst>
        </pc:spChg>
        <pc:spChg chg="mod">
          <ac:chgData name="Tường SKHĐT" userId="ab9568c39a88b08a" providerId="LiveId" clId="{C9C9E8F3-8FCD-4EE8-870E-E66814DBD785}" dt="2022-11-23T07:29:12.412" v="2158" actId="20577"/>
          <ac:spMkLst>
            <pc:docMk/>
            <pc:sldMk cId="1874412585" sldId="456"/>
            <ac:spMk id="36" creationId="{61736211-C4FA-714B-3CF0-96E78EFE9042}"/>
          </ac:spMkLst>
        </pc:spChg>
        <pc:spChg chg="mod">
          <ac:chgData name="Tường SKHĐT" userId="ab9568c39a88b08a" providerId="LiveId" clId="{C9C9E8F3-8FCD-4EE8-870E-E66814DBD785}" dt="2022-11-23T07:29:14.653" v="2159" actId="1076"/>
          <ac:spMkLst>
            <pc:docMk/>
            <pc:sldMk cId="1874412585" sldId="456"/>
            <ac:spMk id="37" creationId="{D92685F0-8209-0269-DD5F-C076CF4664DF}"/>
          </ac:spMkLst>
        </pc:spChg>
        <pc:spChg chg="mod">
          <ac:chgData name="Tường SKHĐT" userId="ab9568c39a88b08a" providerId="LiveId" clId="{C9C9E8F3-8FCD-4EE8-870E-E66814DBD785}" dt="2022-11-23T07:29:31.633" v="2162" actId="1076"/>
          <ac:spMkLst>
            <pc:docMk/>
            <pc:sldMk cId="1874412585" sldId="456"/>
            <ac:spMk id="38" creationId="{EA785596-A697-B644-A735-47DC608D34E5}"/>
          </ac:spMkLst>
        </pc:spChg>
        <pc:spChg chg="mod">
          <ac:chgData name="Tường SKHĐT" userId="ab9568c39a88b08a" providerId="LiveId" clId="{C9C9E8F3-8FCD-4EE8-870E-E66814DBD785}" dt="2022-11-23T07:29:33.414" v="2163" actId="1076"/>
          <ac:spMkLst>
            <pc:docMk/>
            <pc:sldMk cId="1874412585" sldId="456"/>
            <ac:spMk id="39" creationId="{1DB1BA91-ADC3-1B95-9C90-9E7C7E6FD3EB}"/>
          </ac:spMkLst>
        </pc:spChg>
        <pc:cxnChg chg="del">
          <ac:chgData name="Tường SKHĐT" userId="ab9568c39a88b08a" providerId="LiveId" clId="{C9C9E8F3-8FCD-4EE8-870E-E66814DBD785}" dt="2022-11-23T07:27:30.997" v="2072" actId="478"/>
          <ac:cxnSpMkLst>
            <pc:docMk/>
            <pc:sldMk cId="1874412585" sldId="456"/>
            <ac:cxnSpMk id="13" creationId="{00000000-0000-0000-0000-000000000000}"/>
          </ac:cxnSpMkLst>
        </pc:cxnChg>
        <pc:cxnChg chg="del">
          <ac:chgData name="Tường SKHĐT" userId="ab9568c39a88b08a" providerId="LiveId" clId="{C9C9E8F3-8FCD-4EE8-870E-E66814DBD785}" dt="2022-11-23T07:27:30.079" v="2071" actId="478"/>
          <ac:cxnSpMkLst>
            <pc:docMk/>
            <pc:sldMk cId="1874412585" sldId="456"/>
            <ac:cxnSpMk id="14" creationId="{00000000-0000-0000-0000-000000000000}"/>
          </ac:cxnSpMkLst>
        </pc:cxnChg>
      </pc:sldChg>
      <pc:sldChg chg="del">
        <pc:chgData name="Tường SKHĐT" userId="ab9568c39a88b08a" providerId="LiveId" clId="{C9C9E8F3-8FCD-4EE8-870E-E66814DBD785}" dt="2022-11-23T08:17:41.774" v="3241" actId="2696"/>
        <pc:sldMkLst>
          <pc:docMk/>
          <pc:sldMk cId="2175681301" sldId="459"/>
        </pc:sldMkLst>
      </pc:sldChg>
      <pc:sldChg chg="del">
        <pc:chgData name="Tường SKHĐT" userId="ab9568c39a88b08a" providerId="LiveId" clId="{C9C9E8F3-8FCD-4EE8-870E-E66814DBD785}" dt="2022-11-23T07:32:41.034" v="2328" actId="2696"/>
        <pc:sldMkLst>
          <pc:docMk/>
          <pc:sldMk cId="3281693686" sldId="462"/>
        </pc:sldMkLst>
      </pc:sldChg>
      <pc:sldChg chg="modSp del mod">
        <pc:chgData name="Tường SKHĐT" userId="ab9568c39a88b08a" providerId="LiveId" clId="{C9C9E8F3-8FCD-4EE8-870E-E66814DBD785}" dt="2022-11-23T07:45:58.626" v="2989" actId="2696"/>
        <pc:sldMkLst>
          <pc:docMk/>
          <pc:sldMk cId="1691974300" sldId="465"/>
        </pc:sldMkLst>
        <pc:spChg chg="mod">
          <ac:chgData name="Tường SKHĐT" userId="ab9568c39a88b08a" providerId="LiveId" clId="{C9C9E8F3-8FCD-4EE8-870E-E66814DBD785}" dt="2022-11-23T07:33:41.712" v="2356" actId="108"/>
          <ac:spMkLst>
            <pc:docMk/>
            <pc:sldMk cId="1691974300" sldId="465"/>
            <ac:spMk id="3" creationId="{00000000-0000-0000-0000-000000000000}"/>
          </ac:spMkLst>
        </pc:spChg>
        <pc:spChg chg="mod">
          <ac:chgData name="Tường SKHĐT" userId="ab9568c39a88b08a" providerId="LiveId" clId="{C9C9E8F3-8FCD-4EE8-870E-E66814DBD785}" dt="2022-11-23T07:31:43.682" v="2327" actId="20577"/>
          <ac:spMkLst>
            <pc:docMk/>
            <pc:sldMk cId="1691974300" sldId="465"/>
            <ac:spMk id="8" creationId="{00000000-0000-0000-0000-000000000000}"/>
          </ac:spMkLst>
        </pc:spChg>
      </pc:sldChg>
      <pc:sldChg chg="modSp mod">
        <pc:chgData name="Tường SKHĐT" userId="ab9568c39a88b08a" providerId="LiveId" clId="{C9C9E8F3-8FCD-4EE8-870E-E66814DBD785}" dt="2022-11-23T07:23:54.804" v="2012" actId="20577"/>
        <pc:sldMkLst>
          <pc:docMk/>
          <pc:sldMk cId="3916396667" sldId="471"/>
        </pc:sldMkLst>
        <pc:spChg chg="mod">
          <ac:chgData name="Tường SKHĐT" userId="ab9568c39a88b08a" providerId="LiveId" clId="{C9C9E8F3-8FCD-4EE8-870E-E66814DBD785}" dt="2022-11-23T07:23:54.804" v="2012" actId="20577"/>
          <ac:spMkLst>
            <pc:docMk/>
            <pc:sldMk cId="3916396667" sldId="471"/>
            <ac:spMk id="2" creationId="{51DFCA6C-5D70-50D9-2855-50805249BD76}"/>
          </ac:spMkLst>
        </pc:spChg>
      </pc:sldChg>
      <pc:sldChg chg="modSp mod">
        <pc:chgData name="Tường SKHĐT" userId="ab9568c39a88b08a" providerId="LiveId" clId="{C9C9E8F3-8FCD-4EE8-870E-E66814DBD785}" dt="2022-11-23T03:30:07.501" v="181" actId="20577"/>
        <pc:sldMkLst>
          <pc:docMk/>
          <pc:sldMk cId="592900118" sldId="480"/>
        </pc:sldMkLst>
        <pc:spChg chg="mod">
          <ac:chgData name="Tường SKHĐT" userId="ab9568c39a88b08a" providerId="LiveId" clId="{C9C9E8F3-8FCD-4EE8-870E-E66814DBD785}" dt="2022-11-23T03:30:07.501" v="181" actId="20577"/>
          <ac:spMkLst>
            <pc:docMk/>
            <pc:sldMk cId="592900118" sldId="480"/>
            <ac:spMk id="4" creationId="{05CE468D-4928-B10A-7290-248854265286}"/>
          </ac:spMkLst>
        </pc:spChg>
      </pc:sldChg>
      <pc:sldChg chg="modSp mod">
        <pc:chgData name="Tường SKHĐT" userId="ab9568c39a88b08a" providerId="LiveId" clId="{C9C9E8F3-8FCD-4EE8-870E-E66814DBD785}" dt="2022-11-23T03:24:58.848" v="100" actId="20577"/>
        <pc:sldMkLst>
          <pc:docMk/>
          <pc:sldMk cId="348917705" sldId="482"/>
        </pc:sldMkLst>
        <pc:graphicFrameChg chg="mod modGraphic">
          <ac:chgData name="Tường SKHĐT" userId="ab9568c39a88b08a" providerId="LiveId" clId="{C9C9E8F3-8FCD-4EE8-870E-E66814DBD785}" dt="2022-11-23T03:24:58.848" v="100" actId="20577"/>
          <ac:graphicFrameMkLst>
            <pc:docMk/>
            <pc:sldMk cId="348917705" sldId="482"/>
            <ac:graphicFrameMk id="2" creationId="{00000000-0000-0000-0000-000000000000}"/>
          </ac:graphicFrameMkLst>
        </pc:graphicFrameChg>
      </pc:sldChg>
      <pc:sldChg chg="addSp delSp modSp mod">
        <pc:chgData name="Tường SKHĐT" userId="ab9568c39a88b08a" providerId="LiveId" clId="{C9C9E8F3-8FCD-4EE8-870E-E66814DBD785}" dt="2022-11-23T03:26:52.852" v="145" actId="1076"/>
        <pc:sldMkLst>
          <pc:docMk/>
          <pc:sldMk cId="4051799181" sldId="483"/>
        </pc:sldMkLst>
        <pc:graphicFrameChg chg="add del mod modGraphic">
          <ac:chgData name="Tường SKHĐT" userId="ab9568c39a88b08a" providerId="LiveId" clId="{C9C9E8F3-8FCD-4EE8-870E-E66814DBD785}" dt="2022-11-23T03:26:52.852" v="145" actId="1076"/>
          <ac:graphicFrameMkLst>
            <pc:docMk/>
            <pc:sldMk cId="4051799181" sldId="483"/>
            <ac:graphicFrameMk id="3" creationId="{00000000-0000-0000-0000-000000000000}"/>
          </ac:graphicFrameMkLst>
        </pc:graphicFrameChg>
      </pc:sldChg>
      <pc:sldChg chg="modSp mod">
        <pc:chgData name="Tường SKHĐT" userId="ab9568c39a88b08a" providerId="LiveId" clId="{C9C9E8F3-8FCD-4EE8-870E-E66814DBD785}" dt="2022-11-23T03:26:15.916" v="138" actId="14734"/>
        <pc:sldMkLst>
          <pc:docMk/>
          <pc:sldMk cId="4159698899" sldId="492"/>
        </pc:sldMkLst>
        <pc:graphicFrameChg chg="modGraphic">
          <ac:chgData name="Tường SKHĐT" userId="ab9568c39a88b08a" providerId="LiveId" clId="{C9C9E8F3-8FCD-4EE8-870E-E66814DBD785}" dt="2022-11-23T03:26:15.916" v="138" actId="14734"/>
          <ac:graphicFrameMkLst>
            <pc:docMk/>
            <pc:sldMk cId="4159698899" sldId="492"/>
            <ac:graphicFrameMk id="3" creationId="{00000000-0000-0000-0000-000000000000}"/>
          </ac:graphicFrameMkLst>
        </pc:graphicFrameChg>
      </pc:sldChg>
      <pc:sldChg chg="modSp mod">
        <pc:chgData name="Tường SKHĐT" userId="ab9568c39a88b08a" providerId="LiveId" clId="{C9C9E8F3-8FCD-4EE8-870E-E66814DBD785}" dt="2022-11-23T07:23:46.954" v="2004" actId="20577"/>
        <pc:sldMkLst>
          <pc:docMk/>
          <pc:sldMk cId="1360248063" sldId="493"/>
        </pc:sldMkLst>
        <pc:spChg chg="mod">
          <ac:chgData name="Tường SKHĐT" userId="ab9568c39a88b08a" providerId="LiveId" clId="{C9C9E8F3-8FCD-4EE8-870E-E66814DBD785}" dt="2022-11-23T07:23:46.954" v="2004" actId="20577"/>
          <ac:spMkLst>
            <pc:docMk/>
            <pc:sldMk cId="1360248063" sldId="493"/>
            <ac:spMk id="12" creationId="{CE5FBBCC-ED66-B046-1C08-3D84F85723EB}"/>
          </ac:spMkLst>
        </pc:spChg>
      </pc:sldChg>
      <pc:sldChg chg="modSp mod">
        <pc:chgData name="Tường SKHĐT" userId="ab9568c39a88b08a" providerId="LiveId" clId="{C9C9E8F3-8FCD-4EE8-870E-E66814DBD785}" dt="2022-11-23T07:23:51.020" v="2008" actId="20577"/>
        <pc:sldMkLst>
          <pc:docMk/>
          <pc:sldMk cId="227215188" sldId="494"/>
        </pc:sldMkLst>
        <pc:spChg chg="mod">
          <ac:chgData name="Tường SKHĐT" userId="ab9568c39a88b08a" providerId="LiveId" clId="{C9C9E8F3-8FCD-4EE8-870E-E66814DBD785}" dt="2022-11-23T07:23:51.020" v="2008" actId="20577"/>
          <ac:spMkLst>
            <pc:docMk/>
            <pc:sldMk cId="227215188" sldId="494"/>
            <ac:spMk id="12" creationId="{CE5FBBCC-ED66-B046-1C08-3D84F85723EB}"/>
          </ac:spMkLst>
        </pc:spChg>
      </pc:sldChg>
      <pc:sldChg chg="delSp modSp mod">
        <pc:chgData name="Tường SKHĐT" userId="ab9568c39a88b08a" providerId="LiveId" clId="{C9C9E8F3-8FCD-4EE8-870E-E66814DBD785}" dt="2022-11-23T08:59:12.909" v="4196" actId="478"/>
        <pc:sldMkLst>
          <pc:docMk/>
          <pc:sldMk cId="2933973913" sldId="495"/>
        </pc:sldMkLst>
        <pc:spChg chg="mod">
          <ac:chgData name="Tường SKHĐT" userId="ab9568c39a88b08a" providerId="LiveId" clId="{C9C9E8F3-8FCD-4EE8-870E-E66814DBD785}" dt="2022-11-23T07:13:49.372" v="1643" actId="20577"/>
          <ac:spMkLst>
            <pc:docMk/>
            <pc:sldMk cId="2933973913" sldId="495"/>
            <ac:spMk id="3" creationId="{22B2B715-653C-5238-09BE-B01B91D4BD2D}"/>
          </ac:spMkLst>
        </pc:spChg>
        <pc:spChg chg="mod">
          <ac:chgData name="Tường SKHĐT" userId="ab9568c39a88b08a" providerId="LiveId" clId="{C9C9E8F3-8FCD-4EE8-870E-E66814DBD785}" dt="2022-11-23T08:59:08.007" v="4193" actId="20577"/>
          <ac:spMkLst>
            <pc:docMk/>
            <pc:sldMk cId="2933973913" sldId="495"/>
            <ac:spMk id="8" creationId="{1B2B3B43-1FE8-D585-2205-9EB6EFD5B656}"/>
          </ac:spMkLst>
        </pc:spChg>
        <pc:cxnChg chg="del">
          <ac:chgData name="Tường SKHĐT" userId="ab9568c39a88b08a" providerId="LiveId" clId="{C9C9E8F3-8FCD-4EE8-870E-E66814DBD785}" dt="2022-11-23T08:59:12.909" v="4196" actId="478"/>
          <ac:cxnSpMkLst>
            <pc:docMk/>
            <pc:sldMk cId="2933973913" sldId="495"/>
            <ac:cxnSpMk id="11" creationId="{00000000-0000-0000-0000-000000000000}"/>
          </ac:cxnSpMkLst>
        </pc:cxnChg>
        <pc:cxnChg chg="del">
          <ac:chgData name="Tường SKHĐT" userId="ab9568c39a88b08a" providerId="LiveId" clId="{C9C9E8F3-8FCD-4EE8-870E-E66814DBD785}" dt="2022-11-23T08:59:11.836" v="4195" actId="478"/>
          <ac:cxnSpMkLst>
            <pc:docMk/>
            <pc:sldMk cId="2933973913" sldId="495"/>
            <ac:cxnSpMk id="13" creationId="{00000000-0000-0000-0000-000000000000}"/>
          </ac:cxnSpMkLst>
        </pc:cxnChg>
        <pc:cxnChg chg="del">
          <ac:chgData name="Tường SKHĐT" userId="ab9568c39a88b08a" providerId="LiveId" clId="{C9C9E8F3-8FCD-4EE8-870E-E66814DBD785}" dt="2022-11-23T08:59:10.789" v="4194" actId="478"/>
          <ac:cxnSpMkLst>
            <pc:docMk/>
            <pc:sldMk cId="2933973913" sldId="495"/>
            <ac:cxnSpMk id="14" creationId="{00000000-0000-0000-0000-000000000000}"/>
          </ac:cxnSpMkLst>
        </pc:cxnChg>
      </pc:sldChg>
      <pc:sldChg chg="delSp modSp del mod">
        <pc:chgData name="Tường SKHĐT" userId="ab9568c39a88b08a" providerId="LiveId" clId="{C9C9E8F3-8FCD-4EE8-870E-E66814DBD785}" dt="2022-11-23T08:49:58.774" v="3877" actId="2696"/>
        <pc:sldMkLst>
          <pc:docMk/>
          <pc:sldMk cId="3147778274" sldId="501"/>
        </pc:sldMkLst>
        <pc:spChg chg="mod">
          <ac:chgData name="Tường SKHĐT" userId="ab9568c39a88b08a" providerId="LiveId" clId="{C9C9E8F3-8FCD-4EE8-870E-E66814DBD785}" dt="2022-11-23T08:48:59.860" v="3874" actId="20577"/>
          <ac:spMkLst>
            <pc:docMk/>
            <pc:sldMk cId="3147778274" sldId="501"/>
            <ac:spMk id="3" creationId="{00000000-0000-0000-0000-000000000000}"/>
          </ac:spMkLst>
        </pc:spChg>
        <pc:spChg chg="mod">
          <ac:chgData name="Tường SKHĐT" userId="ab9568c39a88b08a" providerId="LiveId" clId="{C9C9E8F3-8FCD-4EE8-870E-E66814DBD785}" dt="2022-11-23T08:47:41.555" v="3851" actId="20577"/>
          <ac:spMkLst>
            <pc:docMk/>
            <pc:sldMk cId="3147778274" sldId="501"/>
            <ac:spMk id="8" creationId="{00000000-0000-0000-0000-000000000000}"/>
          </ac:spMkLst>
        </pc:spChg>
        <pc:cxnChg chg="del">
          <ac:chgData name="Tường SKHĐT" userId="ab9568c39a88b08a" providerId="LiveId" clId="{C9C9E8F3-8FCD-4EE8-870E-E66814DBD785}" dt="2022-11-23T08:47:46.790" v="3854" actId="478"/>
          <ac:cxnSpMkLst>
            <pc:docMk/>
            <pc:sldMk cId="3147778274" sldId="501"/>
            <ac:cxnSpMk id="13" creationId="{00000000-0000-0000-0000-000000000000}"/>
          </ac:cxnSpMkLst>
        </pc:cxnChg>
        <pc:cxnChg chg="del">
          <ac:chgData name="Tường SKHĐT" userId="ab9568c39a88b08a" providerId="LiveId" clId="{C9C9E8F3-8FCD-4EE8-870E-E66814DBD785}" dt="2022-11-23T08:47:46.009" v="3853" actId="478"/>
          <ac:cxnSpMkLst>
            <pc:docMk/>
            <pc:sldMk cId="3147778274" sldId="501"/>
            <ac:cxnSpMk id="14" creationId="{00000000-0000-0000-0000-000000000000}"/>
          </ac:cxnSpMkLst>
        </pc:cxnChg>
      </pc:sldChg>
      <pc:sldChg chg="modSp mod">
        <pc:chgData name="Tường SKHĐT" userId="ab9568c39a88b08a" providerId="LiveId" clId="{C9C9E8F3-8FCD-4EE8-870E-E66814DBD785}" dt="2022-11-23T07:15:41.153" v="1767" actId="20577"/>
        <pc:sldMkLst>
          <pc:docMk/>
          <pc:sldMk cId="3540405953" sldId="502"/>
        </pc:sldMkLst>
        <pc:spChg chg="mod">
          <ac:chgData name="Tường SKHĐT" userId="ab9568c39a88b08a" providerId="LiveId" clId="{C9C9E8F3-8FCD-4EE8-870E-E66814DBD785}" dt="2022-11-23T07:14:44.785" v="1713" actId="20577"/>
          <ac:spMkLst>
            <pc:docMk/>
            <pc:sldMk cId="3540405953" sldId="502"/>
            <ac:spMk id="6" creationId="{8F441EC3-0BA7-4F59-8AD1-8445D9757715}"/>
          </ac:spMkLst>
        </pc:spChg>
        <pc:spChg chg="mod">
          <ac:chgData name="Tường SKHĐT" userId="ab9568c39a88b08a" providerId="LiveId" clId="{C9C9E8F3-8FCD-4EE8-870E-E66814DBD785}" dt="2022-11-23T07:14:54.496" v="1730" actId="20577"/>
          <ac:spMkLst>
            <pc:docMk/>
            <pc:sldMk cId="3540405953" sldId="502"/>
            <ac:spMk id="7" creationId="{6C0C263C-8AC5-4EA9-6623-5D53F070A466}"/>
          </ac:spMkLst>
        </pc:spChg>
        <pc:spChg chg="mod">
          <ac:chgData name="Tường SKHĐT" userId="ab9568c39a88b08a" providerId="LiveId" clId="{C9C9E8F3-8FCD-4EE8-870E-E66814DBD785}" dt="2022-11-23T07:15:41.153" v="1767" actId="20577"/>
          <ac:spMkLst>
            <pc:docMk/>
            <pc:sldMk cId="3540405953" sldId="502"/>
            <ac:spMk id="8" creationId="{BE3FBCC4-B1C6-7537-0DC2-C1A9645EA02C}"/>
          </ac:spMkLst>
        </pc:spChg>
        <pc:spChg chg="mod">
          <ac:chgData name="Tường SKHĐT" userId="ab9568c39a88b08a" providerId="LiveId" clId="{C9C9E8F3-8FCD-4EE8-870E-E66814DBD785}" dt="2022-11-23T07:15:08.977" v="1749" actId="20577"/>
          <ac:spMkLst>
            <pc:docMk/>
            <pc:sldMk cId="3540405953" sldId="502"/>
            <ac:spMk id="9" creationId="{BF2EF6F2-669D-669D-8EC0-42EAD0DB9009}"/>
          </ac:spMkLst>
        </pc:spChg>
        <pc:spChg chg="mod">
          <ac:chgData name="Tường SKHĐT" userId="ab9568c39a88b08a" providerId="LiveId" clId="{C9C9E8F3-8FCD-4EE8-870E-E66814DBD785}" dt="2022-11-23T07:14:16.480" v="1681" actId="20577"/>
          <ac:spMkLst>
            <pc:docMk/>
            <pc:sldMk cId="3540405953" sldId="502"/>
            <ac:spMk id="18" creationId="{FFC10AC6-2C73-A1C4-5D01-9745FB860C53}"/>
          </ac:spMkLst>
        </pc:spChg>
        <pc:spChg chg="mod">
          <ac:chgData name="Tường SKHĐT" userId="ab9568c39a88b08a" providerId="LiveId" clId="{C9C9E8F3-8FCD-4EE8-870E-E66814DBD785}" dt="2022-11-23T07:14:31.844" v="1699" actId="20577"/>
          <ac:spMkLst>
            <pc:docMk/>
            <pc:sldMk cId="3540405953" sldId="502"/>
            <ac:spMk id="20" creationId="{46499BF0-4D64-5CB9-D715-F6433918CD00}"/>
          </ac:spMkLst>
        </pc:spChg>
      </pc:sldChg>
      <pc:sldChg chg="addSp delSp modSp mod">
        <pc:chgData name="Tường SKHĐT" userId="ab9568c39a88b08a" providerId="LiveId" clId="{C9C9E8F3-8FCD-4EE8-870E-E66814DBD785}" dt="2022-11-23T07:34:21.083" v="2439" actId="20577"/>
        <pc:sldMkLst>
          <pc:docMk/>
          <pc:sldMk cId="1537785574" sldId="504"/>
        </pc:sldMkLst>
        <pc:spChg chg="mod">
          <ac:chgData name="Tường SKHĐT" userId="ab9568c39a88b08a" providerId="LiveId" clId="{C9C9E8F3-8FCD-4EE8-870E-E66814DBD785}" dt="2022-11-23T07:05:29.373" v="1327" actId="1076"/>
          <ac:spMkLst>
            <pc:docMk/>
            <pc:sldMk cId="1537785574" sldId="504"/>
            <ac:spMk id="2" creationId="{E44EE9E0-4EA3-0404-EFB1-8C6F74BFB274}"/>
          </ac:spMkLst>
        </pc:spChg>
        <pc:spChg chg="mod">
          <ac:chgData name="Tường SKHĐT" userId="ab9568c39a88b08a" providerId="LiveId" clId="{C9C9E8F3-8FCD-4EE8-870E-E66814DBD785}" dt="2022-11-23T07:00:15.488" v="1244" actId="20577"/>
          <ac:spMkLst>
            <pc:docMk/>
            <pc:sldMk cId="1537785574" sldId="504"/>
            <ac:spMk id="3" creationId="{22B2B715-653C-5238-09BE-B01B91D4BD2D}"/>
          </ac:spMkLst>
        </pc:spChg>
        <pc:spChg chg="mod">
          <ac:chgData name="Tường SKHĐT" userId="ab9568c39a88b08a" providerId="LiveId" clId="{C9C9E8F3-8FCD-4EE8-870E-E66814DBD785}" dt="2022-11-23T07:05:28.998" v="1326" actId="1076"/>
          <ac:spMkLst>
            <pc:docMk/>
            <pc:sldMk cId="1537785574" sldId="504"/>
            <ac:spMk id="4" creationId="{9D2F2080-50A0-6420-BD42-38A92C6AB08D}"/>
          </ac:spMkLst>
        </pc:spChg>
        <pc:spChg chg="add del mod">
          <ac:chgData name="Tường SKHĐT" userId="ab9568c39a88b08a" providerId="LiveId" clId="{C9C9E8F3-8FCD-4EE8-870E-E66814DBD785}" dt="2022-11-23T03:37:46.892" v="426" actId="21"/>
          <ac:spMkLst>
            <pc:docMk/>
            <pc:sldMk cId="1537785574" sldId="504"/>
            <ac:spMk id="5" creationId="{00DDD997-DCAF-1987-792D-88AA549B2C04}"/>
          </ac:spMkLst>
        </pc:spChg>
        <pc:spChg chg="add del mod">
          <ac:chgData name="Tường SKHĐT" userId="ab9568c39a88b08a" providerId="LiveId" clId="{C9C9E8F3-8FCD-4EE8-870E-E66814DBD785}" dt="2022-11-23T07:34:21.083" v="2439" actId="20577"/>
          <ac:spMkLst>
            <pc:docMk/>
            <pc:sldMk cId="1537785574" sldId="504"/>
            <ac:spMk id="8" creationId="{310BDFE0-6C26-8FF6-17BC-7D420AAE6BB9}"/>
          </ac:spMkLst>
        </pc:spChg>
        <pc:cxnChg chg="del">
          <ac:chgData name="Tường SKHĐT" userId="ab9568c39a88b08a" providerId="LiveId" clId="{C9C9E8F3-8FCD-4EE8-870E-E66814DBD785}" dt="2022-11-23T03:36:49.062" v="353" actId="478"/>
          <ac:cxnSpMkLst>
            <pc:docMk/>
            <pc:sldMk cId="1537785574" sldId="504"/>
            <ac:cxnSpMk id="11" creationId="{00000000-0000-0000-0000-000000000000}"/>
          </ac:cxnSpMkLst>
        </pc:cxnChg>
        <pc:cxnChg chg="del">
          <ac:chgData name="Tường SKHĐT" userId="ab9568c39a88b08a" providerId="LiveId" clId="{C9C9E8F3-8FCD-4EE8-870E-E66814DBD785}" dt="2022-11-23T03:36:47.218" v="351" actId="478"/>
          <ac:cxnSpMkLst>
            <pc:docMk/>
            <pc:sldMk cId="1537785574" sldId="504"/>
            <ac:cxnSpMk id="13" creationId="{00000000-0000-0000-0000-000000000000}"/>
          </ac:cxnSpMkLst>
        </pc:cxnChg>
        <pc:cxnChg chg="del">
          <ac:chgData name="Tường SKHĐT" userId="ab9568c39a88b08a" providerId="LiveId" clId="{C9C9E8F3-8FCD-4EE8-870E-E66814DBD785}" dt="2022-11-23T03:36:48.265" v="352" actId="478"/>
          <ac:cxnSpMkLst>
            <pc:docMk/>
            <pc:sldMk cId="1537785574" sldId="504"/>
            <ac:cxnSpMk id="14" creationId="{00000000-0000-0000-0000-000000000000}"/>
          </ac:cxnSpMkLst>
        </pc:cxnChg>
      </pc:sldChg>
      <pc:sldChg chg="del">
        <pc:chgData name="Tường SKHĐT" userId="ab9568c39a88b08a" providerId="LiveId" clId="{C9C9E8F3-8FCD-4EE8-870E-E66814DBD785}" dt="2022-11-23T03:27:08.508" v="147" actId="2696"/>
        <pc:sldMkLst>
          <pc:docMk/>
          <pc:sldMk cId="246041151" sldId="505"/>
        </pc:sldMkLst>
      </pc:sldChg>
      <pc:sldChg chg="del">
        <pc:chgData name="Tường SKHĐT" userId="ab9568c39a88b08a" providerId="LiveId" clId="{C9C9E8F3-8FCD-4EE8-870E-E66814DBD785}" dt="2022-11-23T03:27:11.800" v="148" actId="2696"/>
        <pc:sldMkLst>
          <pc:docMk/>
          <pc:sldMk cId="897172288" sldId="506"/>
        </pc:sldMkLst>
      </pc:sldChg>
      <pc:sldChg chg="del">
        <pc:chgData name="Tường SKHĐT" userId="ab9568c39a88b08a" providerId="LiveId" clId="{C9C9E8F3-8FCD-4EE8-870E-E66814DBD785}" dt="2022-11-23T03:27:14.953" v="149" actId="2696"/>
        <pc:sldMkLst>
          <pc:docMk/>
          <pc:sldMk cId="3342868735" sldId="507"/>
        </pc:sldMkLst>
      </pc:sldChg>
      <pc:sldChg chg="modSp mod">
        <pc:chgData name="Tường SKHĐT" userId="ab9568c39a88b08a" providerId="LiveId" clId="{C9C9E8F3-8FCD-4EE8-870E-E66814DBD785}" dt="2022-11-23T07:24:08.614" v="2018" actId="20577"/>
        <pc:sldMkLst>
          <pc:docMk/>
          <pc:sldMk cId="3594759769" sldId="509"/>
        </pc:sldMkLst>
        <pc:spChg chg="mod">
          <ac:chgData name="Tường SKHĐT" userId="ab9568c39a88b08a" providerId="LiveId" clId="{C9C9E8F3-8FCD-4EE8-870E-E66814DBD785}" dt="2022-11-23T07:21:42.158" v="1952" actId="20577"/>
          <ac:spMkLst>
            <pc:docMk/>
            <pc:sldMk cId="3594759769" sldId="509"/>
            <ac:spMk id="3" creationId="{22B2B715-653C-5238-09BE-B01B91D4BD2D}"/>
          </ac:spMkLst>
        </pc:spChg>
        <pc:spChg chg="mod">
          <ac:chgData name="Tường SKHĐT" userId="ab9568c39a88b08a" providerId="LiveId" clId="{C9C9E8F3-8FCD-4EE8-870E-E66814DBD785}" dt="2022-11-23T07:24:08.614" v="2018" actId="20577"/>
          <ac:spMkLst>
            <pc:docMk/>
            <pc:sldMk cId="3594759769" sldId="509"/>
            <ac:spMk id="6" creationId="{26CA6862-95C2-E5F2-5B96-27B859758EFB}"/>
          </ac:spMkLst>
        </pc:spChg>
      </pc:sldChg>
      <pc:sldChg chg="del">
        <pc:chgData name="Tường SKHĐT" userId="ab9568c39a88b08a" providerId="LiveId" clId="{C9C9E8F3-8FCD-4EE8-870E-E66814DBD785}" dt="2022-11-23T07:32:43.587" v="2329" actId="2696"/>
        <pc:sldMkLst>
          <pc:docMk/>
          <pc:sldMk cId="2022089303" sldId="510"/>
        </pc:sldMkLst>
      </pc:sldChg>
      <pc:sldChg chg="modSp del mod">
        <pc:chgData name="Tường SKHĐT" userId="ab9568c39a88b08a" providerId="LiveId" clId="{C9C9E8F3-8FCD-4EE8-870E-E66814DBD785}" dt="2022-11-23T07:32:50.768" v="2331" actId="2696"/>
        <pc:sldMkLst>
          <pc:docMk/>
          <pc:sldMk cId="2850236373" sldId="511"/>
        </pc:sldMkLst>
        <pc:spChg chg="mod">
          <ac:chgData name="Tường SKHĐT" userId="ab9568c39a88b08a" providerId="LiveId" clId="{C9C9E8F3-8FCD-4EE8-870E-E66814DBD785}" dt="2022-11-23T07:23:59.228" v="2014" actId="20577"/>
          <ac:spMkLst>
            <pc:docMk/>
            <pc:sldMk cId="2850236373" sldId="511"/>
            <ac:spMk id="12" creationId="{CE5FBBCC-ED66-B046-1C08-3D84F85723EB}"/>
          </ac:spMkLst>
        </pc:spChg>
      </pc:sldChg>
      <pc:sldChg chg="del">
        <pc:chgData name="Tường SKHĐT" userId="ab9568c39a88b08a" providerId="LiveId" clId="{C9C9E8F3-8FCD-4EE8-870E-E66814DBD785}" dt="2022-11-23T07:32:46.362" v="2330" actId="2696"/>
        <pc:sldMkLst>
          <pc:docMk/>
          <pc:sldMk cId="2808279506" sldId="512"/>
        </pc:sldMkLst>
      </pc:sldChg>
      <pc:sldChg chg="del">
        <pc:chgData name="Tường SKHĐT" userId="ab9568c39a88b08a" providerId="LiveId" clId="{C9C9E8F3-8FCD-4EE8-870E-E66814DBD785}" dt="2022-11-23T08:57:36.713" v="4186" actId="2696"/>
        <pc:sldMkLst>
          <pc:docMk/>
          <pc:sldMk cId="3368443697" sldId="522"/>
        </pc:sldMkLst>
      </pc:sldChg>
      <pc:sldChg chg="del">
        <pc:chgData name="Tường SKHĐT" userId="ab9568c39a88b08a" providerId="LiveId" clId="{C9C9E8F3-8FCD-4EE8-870E-E66814DBD785}" dt="2022-11-23T08:57:22.621" v="4185" actId="2696"/>
        <pc:sldMkLst>
          <pc:docMk/>
          <pc:sldMk cId="2990740007" sldId="523"/>
        </pc:sldMkLst>
      </pc:sldChg>
      <pc:sldChg chg="del">
        <pc:chgData name="Tường SKHĐT" userId="ab9568c39a88b08a" providerId="LiveId" clId="{C9C9E8F3-8FCD-4EE8-870E-E66814DBD785}" dt="2022-11-23T08:57:18.094" v="4184" actId="2696"/>
        <pc:sldMkLst>
          <pc:docMk/>
          <pc:sldMk cId="1573972886" sldId="524"/>
        </pc:sldMkLst>
      </pc:sldChg>
      <pc:sldChg chg="delSp modSp mod">
        <pc:chgData name="Tường SKHĐT" userId="ab9568c39a88b08a" providerId="LiveId" clId="{C9C9E8F3-8FCD-4EE8-870E-E66814DBD785}" dt="2022-11-23T08:30:57.333" v="3279" actId="20577"/>
        <pc:sldMkLst>
          <pc:docMk/>
          <pc:sldMk cId="3433287073" sldId="526"/>
        </pc:sldMkLst>
        <pc:spChg chg="mod">
          <ac:chgData name="Tường SKHĐT" userId="ab9568c39a88b08a" providerId="LiveId" clId="{C9C9E8F3-8FCD-4EE8-870E-E66814DBD785}" dt="2022-11-23T08:15:30.094" v="3090" actId="1076"/>
          <ac:spMkLst>
            <pc:docMk/>
            <pc:sldMk cId="3433287073" sldId="526"/>
            <ac:spMk id="3" creationId="{00000000-0000-0000-0000-000000000000}"/>
          </ac:spMkLst>
        </pc:spChg>
        <pc:spChg chg="mod">
          <ac:chgData name="Tường SKHĐT" userId="ab9568c39a88b08a" providerId="LiveId" clId="{C9C9E8F3-8FCD-4EE8-870E-E66814DBD785}" dt="2022-11-23T07:46:13.384" v="2990"/>
          <ac:spMkLst>
            <pc:docMk/>
            <pc:sldMk cId="3433287073" sldId="526"/>
            <ac:spMk id="8" creationId="{00000000-0000-0000-0000-000000000000}"/>
          </ac:spMkLst>
        </pc:spChg>
        <pc:graphicFrameChg chg="modGraphic">
          <ac:chgData name="Tường SKHĐT" userId="ab9568c39a88b08a" providerId="LiveId" clId="{C9C9E8F3-8FCD-4EE8-870E-E66814DBD785}" dt="2022-11-23T08:30:57.333" v="3279" actId="20577"/>
          <ac:graphicFrameMkLst>
            <pc:docMk/>
            <pc:sldMk cId="3433287073" sldId="526"/>
            <ac:graphicFrameMk id="2" creationId="{03FA2D92-F783-CCB5-17B0-57B4E7C122CF}"/>
          </ac:graphicFrameMkLst>
        </pc:graphicFrameChg>
        <pc:cxnChg chg="del">
          <ac:chgData name="Tường SKHĐT" userId="ab9568c39a88b08a" providerId="LiveId" clId="{C9C9E8F3-8FCD-4EE8-870E-E66814DBD785}" dt="2022-11-23T08:15:27.865" v="3089" actId="478"/>
          <ac:cxnSpMkLst>
            <pc:docMk/>
            <pc:sldMk cId="3433287073" sldId="526"/>
            <ac:cxnSpMk id="13" creationId="{00000000-0000-0000-0000-000000000000}"/>
          </ac:cxnSpMkLst>
        </pc:cxnChg>
        <pc:cxnChg chg="del">
          <ac:chgData name="Tường SKHĐT" userId="ab9568c39a88b08a" providerId="LiveId" clId="{C9C9E8F3-8FCD-4EE8-870E-E66814DBD785}" dt="2022-11-23T08:15:26.162" v="3088" actId="478"/>
          <ac:cxnSpMkLst>
            <pc:docMk/>
            <pc:sldMk cId="3433287073" sldId="526"/>
            <ac:cxnSpMk id="14" creationId="{00000000-0000-0000-0000-000000000000}"/>
          </ac:cxnSpMkLst>
        </pc:cxnChg>
      </pc:sldChg>
      <pc:sldChg chg="del">
        <pc:chgData name="Tường SKHĐT" userId="ab9568c39a88b08a" providerId="LiveId" clId="{C9C9E8F3-8FCD-4EE8-870E-E66814DBD785}" dt="2022-11-23T08:38:17.398" v="3560" actId="2696"/>
        <pc:sldMkLst>
          <pc:docMk/>
          <pc:sldMk cId="1907256953" sldId="527"/>
        </pc:sldMkLst>
      </pc:sldChg>
      <pc:sldChg chg="del">
        <pc:chgData name="Tường SKHĐT" userId="ab9568c39a88b08a" providerId="LiveId" clId="{C9C9E8F3-8FCD-4EE8-870E-E66814DBD785}" dt="2022-11-23T08:39:29.608" v="3579" actId="2696"/>
        <pc:sldMkLst>
          <pc:docMk/>
          <pc:sldMk cId="1303711616" sldId="528"/>
        </pc:sldMkLst>
      </pc:sldChg>
      <pc:sldChg chg="addSp delSp modSp mod">
        <pc:chgData name="Tường SKHĐT" userId="ab9568c39a88b08a" providerId="LiveId" clId="{C9C9E8F3-8FCD-4EE8-870E-E66814DBD785}" dt="2022-11-23T07:06:27.967" v="1334" actId="20577"/>
        <pc:sldMkLst>
          <pc:docMk/>
          <pc:sldMk cId="3890164795" sldId="529"/>
        </pc:sldMkLst>
        <pc:spChg chg="mod">
          <ac:chgData name="Tường SKHĐT" userId="ab9568c39a88b08a" providerId="LiveId" clId="{C9C9E8F3-8FCD-4EE8-870E-E66814DBD785}" dt="2022-11-23T07:05:32.735" v="1330" actId="1076"/>
          <ac:spMkLst>
            <pc:docMk/>
            <pc:sldMk cId="3890164795" sldId="529"/>
            <ac:spMk id="2" creationId="{CC5A0C9B-E81F-9E46-492D-9E3DAEC601E5}"/>
          </ac:spMkLst>
        </pc:spChg>
        <pc:spChg chg="mod">
          <ac:chgData name="Tường SKHĐT" userId="ab9568c39a88b08a" providerId="LiveId" clId="{C9C9E8F3-8FCD-4EE8-870E-E66814DBD785}" dt="2022-11-23T07:06:27.967" v="1334" actId="20577"/>
          <ac:spMkLst>
            <pc:docMk/>
            <pc:sldMk cId="3890164795" sldId="529"/>
            <ac:spMk id="3" creationId="{22B2B715-653C-5238-09BE-B01B91D4BD2D}"/>
          </ac:spMkLst>
        </pc:spChg>
        <pc:spChg chg="add del">
          <ac:chgData name="Tường SKHĐT" userId="ab9568c39a88b08a" providerId="LiveId" clId="{C9C9E8F3-8FCD-4EE8-870E-E66814DBD785}" dt="2022-11-23T07:03:46.386" v="1300" actId="478"/>
          <ac:spMkLst>
            <pc:docMk/>
            <pc:sldMk cId="3890164795" sldId="529"/>
            <ac:spMk id="7" creationId="{08F7292A-2C41-00FC-6DC8-5A83037C93EC}"/>
          </ac:spMkLst>
        </pc:spChg>
        <pc:spChg chg="mod">
          <ac:chgData name="Tường SKHĐT" userId="ab9568c39a88b08a" providerId="LiveId" clId="{C9C9E8F3-8FCD-4EE8-870E-E66814DBD785}" dt="2022-11-23T07:03:40.993" v="1296" actId="20577"/>
          <ac:spMkLst>
            <pc:docMk/>
            <pc:sldMk cId="3890164795" sldId="529"/>
            <ac:spMk id="8" creationId="{1B2B3B43-1FE8-D585-2205-9EB6EFD5B656}"/>
          </ac:spMkLst>
        </pc:spChg>
        <pc:cxnChg chg="del">
          <ac:chgData name="Tường SKHĐT" userId="ab9568c39a88b08a" providerId="LiveId" clId="{C9C9E8F3-8FCD-4EE8-870E-E66814DBD785}" dt="2022-11-23T07:03:49.217" v="1301" actId="478"/>
          <ac:cxnSpMkLst>
            <pc:docMk/>
            <pc:sldMk cId="3890164795" sldId="529"/>
            <ac:cxnSpMk id="11" creationId="{00000000-0000-0000-0000-000000000000}"/>
          </ac:cxnSpMkLst>
        </pc:cxnChg>
        <pc:cxnChg chg="del">
          <ac:chgData name="Tường SKHĐT" userId="ab9568c39a88b08a" providerId="LiveId" clId="{C9C9E8F3-8FCD-4EE8-870E-E66814DBD785}" dt="2022-11-23T07:03:43.995" v="1298" actId="478"/>
          <ac:cxnSpMkLst>
            <pc:docMk/>
            <pc:sldMk cId="3890164795" sldId="529"/>
            <ac:cxnSpMk id="13" creationId="{00000000-0000-0000-0000-000000000000}"/>
          </ac:cxnSpMkLst>
        </pc:cxnChg>
        <pc:cxnChg chg="del">
          <ac:chgData name="Tường SKHĐT" userId="ab9568c39a88b08a" providerId="LiveId" clId="{C9C9E8F3-8FCD-4EE8-870E-E66814DBD785}" dt="2022-11-23T07:03:43.025" v="1297" actId="478"/>
          <ac:cxnSpMkLst>
            <pc:docMk/>
            <pc:sldMk cId="3890164795" sldId="529"/>
            <ac:cxnSpMk id="14" creationId="{00000000-0000-0000-0000-000000000000}"/>
          </ac:cxnSpMkLst>
        </pc:cxnChg>
      </pc:sldChg>
      <pc:sldChg chg="del">
        <pc:chgData name="Tường SKHĐT" userId="ab9568c39a88b08a" providerId="LiveId" clId="{C9C9E8F3-8FCD-4EE8-870E-E66814DBD785}" dt="2022-11-23T08:51:01.234" v="3909" actId="2696"/>
        <pc:sldMkLst>
          <pc:docMk/>
          <pc:sldMk cId="2299284800" sldId="530"/>
        </pc:sldMkLst>
      </pc:sldChg>
      <pc:sldChg chg="del">
        <pc:chgData name="Tường SKHĐT" userId="ab9568c39a88b08a" providerId="LiveId" clId="{C9C9E8F3-8FCD-4EE8-870E-E66814DBD785}" dt="2022-11-23T08:50:58.807" v="3908" actId="2696"/>
        <pc:sldMkLst>
          <pc:docMk/>
          <pc:sldMk cId="745501734" sldId="531"/>
        </pc:sldMkLst>
      </pc:sldChg>
      <pc:sldChg chg="addSp delSp modSp add mod">
        <pc:chgData name="Tường SKHĐT" userId="ab9568c39a88b08a" providerId="LiveId" clId="{C9C9E8F3-8FCD-4EE8-870E-E66814DBD785}" dt="2022-11-23T07:11:07.425" v="1502" actId="1076"/>
        <pc:sldMkLst>
          <pc:docMk/>
          <pc:sldMk cId="19227378" sldId="536"/>
        </pc:sldMkLst>
        <pc:spChg chg="del">
          <ac:chgData name="Tường SKHĐT" userId="ab9568c39a88b08a" providerId="LiveId" clId="{C9C9E8F3-8FCD-4EE8-870E-E66814DBD785}" dt="2022-11-23T03:41:36.347" v="590" actId="21"/>
          <ac:spMkLst>
            <pc:docMk/>
            <pc:sldMk cId="19227378" sldId="536"/>
            <ac:spMk id="2" creationId="{E44EE9E0-4EA3-0404-EFB1-8C6F74BFB274}"/>
          </ac:spMkLst>
        </pc:spChg>
        <pc:spChg chg="mod">
          <ac:chgData name="Tường SKHĐT" userId="ab9568c39a88b08a" providerId="LiveId" clId="{C9C9E8F3-8FCD-4EE8-870E-E66814DBD785}" dt="2022-11-23T07:11:07.425" v="1502" actId="1076"/>
          <ac:spMkLst>
            <pc:docMk/>
            <pc:sldMk cId="19227378" sldId="536"/>
            <ac:spMk id="3" creationId="{22B2B715-653C-5238-09BE-B01B91D4BD2D}"/>
          </ac:spMkLst>
        </pc:spChg>
        <pc:spChg chg="add del mod">
          <ac:chgData name="Tường SKHĐT" userId="ab9568c39a88b08a" providerId="LiveId" clId="{C9C9E8F3-8FCD-4EE8-870E-E66814DBD785}" dt="2022-11-23T07:11:04.797" v="1501" actId="14100"/>
          <ac:spMkLst>
            <pc:docMk/>
            <pc:sldMk cId="19227378" sldId="536"/>
            <ac:spMk id="4" creationId="{9D2F2080-50A0-6420-BD42-38A92C6AB08D}"/>
          </ac:spMkLst>
        </pc:spChg>
        <pc:spChg chg="add mod">
          <ac:chgData name="Tường SKHĐT" userId="ab9568c39a88b08a" providerId="LiveId" clId="{C9C9E8F3-8FCD-4EE8-870E-E66814DBD785}" dt="2022-11-23T03:41:50.502" v="595" actId="1076"/>
          <ac:spMkLst>
            <pc:docMk/>
            <pc:sldMk cId="19227378" sldId="536"/>
            <ac:spMk id="5" creationId="{70C37ACE-48A0-8864-1626-74536027A5AE}"/>
          </ac:spMkLst>
        </pc:spChg>
        <pc:spChg chg="del">
          <ac:chgData name="Tường SKHĐT" userId="ab9568c39a88b08a" providerId="LiveId" clId="{C9C9E8F3-8FCD-4EE8-870E-E66814DBD785}" dt="2022-11-23T03:41:38.764" v="591" actId="21"/>
          <ac:spMkLst>
            <pc:docMk/>
            <pc:sldMk cId="19227378" sldId="536"/>
            <ac:spMk id="8" creationId="{310BDFE0-6C26-8FF6-17BC-7D420AAE6BB9}"/>
          </ac:spMkLst>
        </pc:spChg>
      </pc:sldChg>
      <pc:sldChg chg="delSp modSp add mod">
        <pc:chgData name="Tường SKHĐT" userId="ab9568c39a88b08a" providerId="LiveId" clId="{C9C9E8F3-8FCD-4EE8-870E-E66814DBD785}" dt="2022-11-23T03:47:56.031" v="1177" actId="1076"/>
        <pc:sldMkLst>
          <pc:docMk/>
          <pc:sldMk cId="1981545111" sldId="537"/>
        </pc:sldMkLst>
        <pc:spChg chg="mod">
          <ac:chgData name="Tường SKHĐT" userId="ab9568c39a88b08a" providerId="LiveId" clId="{C9C9E8F3-8FCD-4EE8-870E-E66814DBD785}" dt="2022-11-23T03:46:06.117" v="979" actId="20577"/>
          <ac:spMkLst>
            <pc:docMk/>
            <pc:sldMk cId="1981545111" sldId="537"/>
            <ac:spMk id="2" creationId="{00000000-0000-0000-0000-000000000000}"/>
          </ac:spMkLst>
        </pc:spChg>
        <pc:spChg chg="mod">
          <ac:chgData name="Tường SKHĐT" userId="ab9568c39a88b08a" providerId="LiveId" clId="{C9C9E8F3-8FCD-4EE8-870E-E66814DBD785}" dt="2022-11-23T03:46:53.260" v="1045" actId="20577"/>
          <ac:spMkLst>
            <pc:docMk/>
            <pc:sldMk cId="1981545111" sldId="537"/>
            <ac:spMk id="3" creationId="{48C5AA30-B236-37F0-69A7-41FCE41C3A2B}"/>
          </ac:spMkLst>
        </pc:spChg>
        <pc:spChg chg="mod">
          <ac:chgData name="Tường SKHĐT" userId="ab9568c39a88b08a" providerId="LiveId" clId="{C9C9E8F3-8FCD-4EE8-870E-E66814DBD785}" dt="2022-11-23T03:47:20.820" v="1112" actId="20577"/>
          <ac:spMkLst>
            <pc:docMk/>
            <pc:sldMk cId="1981545111" sldId="537"/>
            <ac:spMk id="21" creationId="{00000000-0000-0000-0000-000000000000}"/>
          </ac:spMkLst>
        </pc:spChg>
        <pc:spChg chg="mod">
          <ac:chgData name="Tường SKHĐT" userId="ab9568c39a88b08a" providerId="LiveId" clId="{C9C9E8F3-8FCD-4EE8-870E-E66814DBD785}" dt="2022-11-23T03:47:15.383" v="1106" actId="20577"/>
          <ac:spMkLst>
            <pc:docMk/>
            <pc:sldMk cId="1981545111" sldId="537"/>
            <ac:spMk id="22" creationId="{00000000-0000-0000-0000-000000000000}"/>
          </ac:spMkLst>
        </pc:spChg>
        <pc:spChg chg="mod">
          <ac:chgData name="Tường SKHĐT" userId="ab9568c39a88b08a" providerId="LiveId" clId="{C9C9E8F3-8FCD-4EE8-870E-E66814DBD785}" dt="2022-11-23T03:47:25.925" v="1118" actId="20577"/>
          <ac:spMkLst>
            <pc:docMk/>
            <pc:sldMk cId="1981545111" sldId="537"/>
            <ac:spMk id="25" creationId="{00000000-0000-0000-0000-000000000000}"/>
          </ac:spMkLst>
        </pc:spChg>
        <pc:spChg chg="mod">
          <ac:chgData name="Tường SKHĐT" userId="ab9568c39a88b08a" providerId="LiveId" clId="{C9C9E8F3-8FCD-4EE8-870E-E66814DBD785}" dt="2022-11-23T03:47:46.267" v="1175" actId="6549"/>
          <ac:spMkLst>
            <pc:docMk/>
            <pc:sldMk cId="1981545111" sldId="537"/>
            <ac:spMk id="26" creationId="{00000000-0000-0000-0000-000000000000}"/>
          </ac:spMkLst>
        </pc:spChg>
        <pc:spChg chg="mod">
          <ac:chgData name="Tường SKHĐT" userId="ab9568c39a88b08a" providerId="LiveId" clId="{C9C9E8F3-8FCD-4EE8-870E-E66814DBD785}" dt="2022-11-23T03:47:05.460" v="1080" actId="20577"/>
          <ac:spMkLst>
            <pc:docMk/>
            <pc:sldMk cId="1981545111" sldId="537"/>
            <ac:spMk id="28" creationId="{00000000-0000-0000-0000-000000000000}"/>
          </ac:spMkLst>
        </pc:spChg>
        <pc:picChg chg="mod">
          <ac:chgData name="Tường SKHĐT" userId="ab9568c39a88b08a" providerId="LiveId" clId="{C9C9E8F3-8FCD-4EE8-870E-E66814DBD785}" dt="2022-11-23T03:47:56.031" v="1177" actId="1076"/>
          <ac:picMkLst>
            <pc:docMk/>
            <pc:sldMk cId="1981545111" sldId="537"/>
            <ac:picMk id="10" creationId="{A5311436-773C-DD72-49E5-6048D5B47A32}"/>
          </ac:picMkLst>
        </pc:picChg>
        <pc:picChg chg="del">
          <ac:chgData name="Tường SKHĐT" userId="ab9568c39a88b08a" providerId="LiveId" clId="{C9C9E8F3-8FCD-4EE8-870E-E66814DBD785}" dt="2022-11-23T03:47:52.779" v="1176" actId="21"/>
          <ac:picMkLst>
            <pc:docMk/>
            <pc:sldMk cId="1981545111" sldId="537"/>
            <ac:picMk id="11" creationId="{1E77B572-C228-F655-92EF-7ABDC1A72BFA}"/>
          </ac:picMkLst>
        </pc:picChg>
      </pc:sldChg>
      <pc:sldChg chg="modSp add mod">
        <pc:chgData name="Tường SKHĐT" userId="ab9568c39a88b08a" providerId="LiveId" clId="{C9C9E8F3-8FCD-4EE8-870E-E66814DBD785}" dt="2022-11-23T08:58:58.781" v="4191" actId="20577"/>
        <pc:sldMkLst>
          <pc:docMk/>
          <pc:sldMk cId="1663666244" sldId="538"/>
        </pc:sldMkLst>
        <pc:spChg chg="mod">
          <ac:chgData name="Tường SKHĐT" userId="ab9568c39a88b08a" providerId="LiveId" clId="{C9C9E8F3-8FCD-4EE8-870E-E66814DBD785}" dt="2022-11-23T07:08:10.467" v="1386" actId="20577"/>
          <ac:spMkLst>
            <pc:docMk/>
            <pc:sldMk cId="1663666244" sldId="538"/>
            <ac:spMk id="2" creationId="{4219F808-181B-0133-F1E0-2E11448658B7}"/>
          </ac:spMkLst>
        </pc:spChg>
        <pc:spChg chg="mod">
          <ac:chgData name="Tường SKHĐT" userId="ab9568c39a88b08a" providerId="LiveId" clId="{C9C9E8F3-8FCD-4EE8-870E-E66814DBD785}" dt="2022-11-23T07:10:23.143" v="1499" actId="1076"/>
          <ac:spMkLst>
            <pc:docMk/>
            <pc:sldMk cId="1663666244" sldId="538"/>
            <ac:spMk id="3" creationId="{22B2B715-653C-5238-09BE-B01B91D4BD2D}"/>
          </ac:spMkLst>
        </pc:spChg>
        <pc:spChg chg="mod">
          <ac:chgData name="Tường SKHĐT" userId="ab9568c39a88b08a" providerId="LiveId" clId="{C9C9E8F3-8FCD-4EE8-870E-E66814DBD785}" dt="2022-11-23T08:58:58.781" v="4191" actId="20577"/>
          <ac:spMkLst>
            <pc:docMk/>
            <pc:sldMk cId="1663666244" sldId="538"/>
            <ac:spMk id="8" creationId="{1B2B3B43-1FE8-D585-2205-9EB6EFD5B656}"/>
          </ac:spMkLst>
        </pc:spChg>
      </pc:sldChg>
      <pc:sldChg chg="modSp add mod">
        <pc:chgData name="Tường SKHĐT" userId="ab9568c39a88b08a" providerId="LiveId" clId="{C9C9E8F3-8FCD-4EE8-870E-E66814DBD785}" dt="2022-11-23T08:50:48.581" v="3907" actId="1035"/>
        <pc:sldMkLst>
          <pc:docMk/>
          <pc:sldMk cId="2991163202" sldId="539"/>
        </pc:sldMkLst>
        <pc:spChg chg="mod">
          <ac:chgData name="Tường SKHĐT" userId="ab9568c39a88b08a" providerId="LiveId" clId="{C9C9E8F3-8FCD-4EE8-870E-E66814DBD785}" dt="2022-11-23T08:50:48.581" v="3907" actId="1035"/>
          <ac:spMkLst>
            <pc:docMk/>
            <pc:sldMk cId="2991163202" sldId="539"/>
            <ac:spMk id="3" creationId="{22B2B715-653C-5238-09BE-B01B91D4BD2D}"/>
          </ac:spMkLst>
        </pc:spChg>
        <pc:spChg chg="mod">
          <ac:chgData name="Tường SKHĐT" userId="ab9568c39a88b08a" providerId="LiveId" clId="{C9C9E8F3-8FCD-4EE8-870E-E66814DBD785}" dt="2022-11-23T07:34:45.779" v="2443" actId="1076"/>
          <ac:spMkLst>
            <pc:docMk/>
            <pc:sldMk cId="2991163202" sldId="539"/>
            <ac:spMk id="4" creationId="{9D2F2080-50A0-6420-BD42-38A92C6AB08D}"/>
          </ac:spMkLst>
        </pc:spChg>
        <pc:spChg chg="mod">
          <ac:chgData name="Tường SKHĐT" userId="ab9568c39a88b08a" providerId="LiveId" clId="{C9C9E8F3-8FCD-4EE8-870E-E66814DBD785}" dt="2022-11-23T07:34:53.183" v="2446" actId="403"/>
          <ac:spMkLst>
            <pc:docMk/>
            <pc:sldMk cId="2991163202" sldId="539"/>
            <ac:spMk id="5" creationId="{70C37ACE-48A0-8864-1626-74536027A5AE}"/>
          </ac:spMkLst>
        </pc:spChg>
      </pc:sldChg>
      <pc:sldChg chg="add del">
        <pc:chgData name="Tường SKHĐT" userId="ab9568c39a88b08a" providerId="LiveId" clId="{C9C9E8F3-8FCD-4EE8-870E-E66814DBD785}" dt="2022-11-23T07:35:12.451" v="2448" actId="2696"/>
        <pc:sldMkLst>
          <pc:docMk/>
          <pc:sldMk cId="3794016870" sldId="540"/>
        </pc:sldMkLst>
      </pc:sldChg>
      <pc:sldChg chg="modSp add mod">
        <pc:chgData name="Tường SKHĐT" userId="ab9568c39a88b08a" providerId="LiveId" clId="{C9C9E8F3-8FCD-4EE8-870E-E66814DBD785}" dt="2022-11-23T07:38:57.206" v="2727" actId="20577"/>
        <pc:sldMkLst>
          <pc:docMk/>
          <pc:sldMk cId="2319489907" sldId="541"/>
        </pc:sldMkLst>
        <pc:spChg chg="mod">
          <ac:chgData name="Tường SKHĐT" userId="ab9568c39a88b08a" providerId="LiveId" clId="{C9C9E8F3-8FCD-4EE8-870E-E66814DBD785}" dt="2022-11-23T07:37:27.183" v="2669" actId="1076"/>
          <ac:spMkLst>
            <pc:docMk/>
            <pc:sldMk cId="2319489907" sldId="541"/>
            <ac:spMk id="2" creationId="{E44EE9E0-4EA3-0404-EFB1-8C6F74BFB274}"/>
          </ac:spMkLst>
        </pc:spChg>
        <pc:spChg chg="mod">
          <ac:chgData name="Tường SKHĐT" userId="ab9568c39a88b08a" providerId="LiveId" clId="{C9C9E8F3-8FCD-4EE8-870E-E66814DBD785}" dt="2022-11-23T07:36:44.193" v="2668" actId="403"/>
          <ac:spMkLst>
            <pc:docMk/>
            <pc:sldMk cId="2319489907" sldId="541"/>
            <ac:spMk id="3" creationId="{22B2B715-653C-5238-09BE-B01B91D4BD2D}"/>
          </ac:spMkLst>
        </pc:spChg>
        <pc:spChg chg="mod">
          <ac:chgData name="Tường SKHĐT" userId="ab9568c39a88b08a" providerId="LiveId" clId="{C9C9E8F3-8FCD-4EE8-870E-E66814DBD785}" dt="2022-11-23T07:38:57.206" v="2727" actId="20577"/>
          <ac:spMkLst>
            <pc:docMk/>
            <pc:sldMk cId="2319489907" sldId="541"/>
            <ac:spMk id="8" creationId="{310BDFE0-6C26-8FF6-17BC-7D420AAE6BB9}"/>
          </ac:spMkLst>
        </pc:spChg>
      </pc:sldChg>
      <pc:sldChg chg="modSp add mod">
        <pc:chgData name="Tường SKHĐT" userId="ab9568c39a88b08a" providerId="LiveId" clId="{C9C9E8F3-8FCD-4EE8-870E-E66814DBD785}" dt="2022-11-23T07:45:32.241" v="2988" actId="404"/>
        <pc:sldMkLst>
          <pc:docMk/>
          <pc:sldMk cId="2569004803" sldId="542"/>
        </pc:sldMkLst>
        <pc:spChg chg="mod">
          <ac:chgData name="Tường SKHĐT" userId="ab9568c39a88b08a" providerId="LiveId" clId="{C9C9E8F3-8FCD-4EE8-870E-E66814DBD785}" dt="2022-11-23T07:43:56.627" v="2917" actId="403"/>
          <ac:spMkLst>
            <pc:docMk/>
            <pc:sldMk cId="2569004803" sldId="542"/>
            <ac:spMk id="2" creationId="{E44EE9E0-4EA3-0404-EFB1-8C6F74BFB274}"/>
          </ac:spMkLst>
        </pc:spChg>
        <pc:spChg chg="mod">
          <ac:chgData name="Tường SKHĐT" userId="ab9568c39a88b08a" providerId="LiveId" clId="{C9C9E8F3-8FCD-4EE8-870E-E66814DBD785}" dt="2022-11-23T07:45:32.241" v="2988" actId="404"/>
          <ac:spMkLst>
            <pc:docMk/>
            <pc:sldMk cId="2569004803" sldId="542"/>
            <ac:spMk id="3" creationId="{22B2B715-653C-5238-09BE-B01B91D4BD2D}"/>
          </ac:spMkLst>
        </pc:spChg>
        <pc:spChg chg="mod">
          <ac:chgData name="Tường SKHĐT" userId="ab9568c39a88b08a" providerId="LiveId" clId="{C9C9E8F3-8FCD-4EE8-870E-E66814DBD785}" dt="2022-11-23T07:39:07.234" v="2730" actId="20577"/>
          <ac:spMkLst>
            <pc:docMk/>
            <pc:sldMk cId="2569004803" sldId="542"/>
            <ac:spMk id="8" creationId="{310BDFE0-6C26-8FF6-17BC-7D420AAE6BB9}"/>
          </ac:spMkLst>
        </pc:spChg>
      </pc:sldChg>
      <pc:sldChg chg="modSp add mod">
        <pc:chgData name="Tường SKHĐT" userId="ab9568c39a88b08a" providerId="LiveId" clId="{C9C9E8F3-8FCD-4EE8-870E-E66814DBD785}" dt="2022-11-23T08:35:39.847" v="3337" actId="20577"/>
        <pc:sldMkLst>
          <pc:docMk/>
          <pc:sldMk cId="222035395" sldId="543"/>
        </pc:sldMkLst>
        <pc:spChg chg="mod">
          <ac:chgData name="Tường SKHĐT" userId="ab9568c39a88b08a" providerId="LiveId" clId="{C9C9E8F3-8FCD-4EE8-870E-E66814DBD785}" dt="2022-11-23T08:34:10.870" v="3317" actId="20577"/>
          <ac:spMkLst>
            <pc:docMk/>
            <pc:sldMk cId="222035395" sldId="543"/>
            <ac:spMk id="2" creationId="{E44EE9E0-4EA3-0404-EFB1-8C6F74BFB274}"/>
          </ac:spMkLst>
        </pc:spChg>
        <pc:spChg chg="mod">
          <ac:chgData name="Tường SKHĐT" userId="ab9568c39a88b08a" providerId="LiveId" clId="{C9C9E8F3-8FCD-4EE8-870E-E66814DBD785}" dt="2022-11-23T08:35:39.847" v="3337" actId="20577"/>
          <ac:spMkLst>
            <pc:docMk/>
            <pc:sldMk cId="222035395" sldId="543"/>
            <ac:spMk id="3" creationId="{22B2B715-653C-5238-09BE-B01B91D4BD2D}"/>
          </ac:spMkLst>
        </pc:spChg>
      </pc:sldChg>
      <pc:sldChg chg="modSp add mod">
        <pc:chgData name="Tường SKHĐT" userId="ab9568c39a88b08a" providerId="LiveId" clId="{C9C9E8F3-8FCD-4EE8-870E-E66814DBD785}" dt="2022-11-23T08:37:48.479" v="3483" actId="20577"/>
        <pc:sldMkLst>
          <pc:docMk/>
          <pc:sldMk cId="2756607218" sldId="544"/>
        </pc:sldMkLst>
        <pc:spChg chg="mod">
          <ac:chgData name="Tường SKHĐT" userId="ab9568c39a88b08a" providerId="LiveId" clId="{C9C9E8F3-8FCD-4EE8-870E-E66814DBD785}" dt="2022-11-23T08:36:51.204" v="3464" actId="20577"/>
          <ac:spMkLst>
            <pc:docMk/>
            <pc:sldMk cId="2756607218" sldId="544"/>
            <ac:spMk id="2" creationId="{E44EE9E0-4EA3-0404-EFB1-8C6F74BFB274}"/>
          </ac:spMkLst>
        </pc:spChg>
        <pc:spChg chg="mod">
          <ac:chgData name="Tường SKHĐT" userId="ab9568c39a88b08a" providerId="LiveId" clId="{C9C9E8F3-8FCD-4EE8-870E-E66814DBD785}" dt="2022-11-23T08:37:48.479" v="3483" actId="20577"/>
          <ac:spMkLst>
            <pc:docMk/>
            <pc:sldMk cId="2756607218" sldId="544"/>
            <ac:spMk id="3" creationId="{22B2B715-653C-5238-09BE-B01B91D4BD2D}"/>
          </ac:spMkLst>
        </pc:spChg>
      </pc:sldChg>
      <pc:sldChg chg="modSp add mod">
        <pc:chgData name="Tường SKHĐT" userId="ab9568c39a88b08a" providerId="LiveId" clId="{C9C9E8F3-8FCD-4EE8-870E-E66814DBD785}" dt="2022-11-23T08:40:39.164" v="3624" actId="1076"/>
        <pc:sldMkLst>
          <pc:docMk/>
          <pc:sldMk cId="2512179538" sldId="545"/>
        </pc:sldMkLst>
        <pc:spChg chg="mod">
          <ac:chgData name="Tường SKHĐT" userId="ab9568c39a88b08a" providerId="LiveId" clId="{C9C9E8F3-8FCD-4EE8-870E-E66814DBD785}" dt="2022-11-23T08:38:13.272" v="3559" actId="20577"/>
          <ac:spMkLst>
            <pc:docMk/>
            <pc:sldMk cId="2512179538" sldId="545"/>
            <ac:spMk id="2" creationId="{E44EE9E0-4EA3-0404-EFB1-8C6F74BFB274}"/>
          </ac:spMkLst>
        </pc:spChg>
        <pc:spChg chg="mod">
          <ac:chgData name="Tường SKHĐT" userId="ab9568c39a88b08a" providerId="LiveId" clId="{C9C9E8F3-8FCD-4EE8-870E-E66814DBD785}" dt="2022-11-23T08:40:39.164" v="3624" actId="1076"/>
          <ac:spMkLst>
            <pc:docMk/>
            <pc:sldMk cId="2512179538" sldId="545"/>
            <ac:spMk id="3" creationId="{22B2B715-653C-5238-09BE-B01B91D4BD2D}"/>
          </ac:spMkLst>
        </pc:spChg>
      </pc:sldChg>
      <pc:sldChg chg="addSp modSp add mod">
        <pc:chgData name="Tường SKHĐT" userId="ab9568c39a88b08a" providerId="LiveId" clId="{C9C9E8F3-8FCD-4EE8-870E-E66814DBD785}" dt="2022-11-23T08:50:38.245" v="3905" actId="1076"/>
        <pc:sldMkLst>
          <pc:docMk/>
          <pc:sldMk cId="2154953636" sldId="546"/>
        </pc:sldMkLst>
        <pc:spChg chg="mod">
          <ac:chgData name="Tường SKHĐT" userId="ab9568c39a88b08a" providerId="LiveId" clId="{C9C9E8F3-8FCD-4EE8-870E-E66814DBD785}" dt="2022-11-23T08:50:38.245" v="3905" actId="1076"/>
          <ac:spMkLst>
            <pc:docMk/>
            <pc:sldMk cId="2154953636" sldId="546"/>
            <ac:spMk id="2" creationId="{E44EE9E0-4EA3-0404-EFB1-8C6F74BFB274}"/>
          </ac:spMkLst>
        </pc:spChg>
        <pc:spChg chg="mod">
          <ac:chgData name="Tường SKHĐT" userId="ab9568c39a88b08a" providerId="LiveId" clId="{C9C9E8F3-8FCD-4EE8-870E-E66814DBD785}" dt="2022-11-23T08:47:07.384" v="3793" actId="1076"/>
          <ac:spMkLst>
            <pc:docMk/>
            <pc:sldMk cId="2154953636" sldId="546"/>
            <ac:spMk id="3" creationId="{22B2B715-653C-5238-09BE-B01B91D4BD2D}"/>
          </ac:spMkLst>
        </pc:spChg>
        <pc:picChg chg="add mod">
          <ac:chgData name="Tường SKHĐT" userId="ab9568c39a88b08a" providerId="LiveId" clId="{C9C9E8F3-8FCD-4EE8-870E-E66814DBD785}" dt="2022-11-23T08:46:40.057" v="3789" actId="1076"/>
          <ac:picMkLst>
            <pc:docMk/>
            <pc:sldMk cId="2154953636" sldId="546"/>
            <ac:picMk id="6" creationId="{844D2E3A-3DA3-41F3-C08D-968A90C48B64}"/>
          </ac:picMkLst>
        </pc:picChg>
        <pc:picChg chg="add mod">
          <ac:chgData name="Tường SKHĐT" userId="ab9568c39a88b08a" providerId="LiveId" clId="{C9C9E8F3-8FCD-4EE8-870E-E66814DBD785}" dt="2022-11-23T08:46:45.880" v="3791" actId="14100"/>
          <ac:picMkLst>
            <pc:docMk/>
            <pc:sldMk cId="2154953636" sldId="546"/>
            <ac:picMk id="9" creationId="{7D3AF09C-8B78-4731-626E-B22B15D2BBFD}"/>
          </ac:picMkLst>
        </pc:picChg>
      </pc:sldChg>
      <pc:sldChg chg="modSp add mod modAnim">
        <pc:chgData name="Tường SKHĐT" userId="ab9568c39a88b08a" providerId="LiveId" clId="{C9C9E8F3-8FCD-4EE8-870E-E66814DBD785}" dt="2022-11-23T08:50:32.078" v="3904" actId="20577"/>
        <pc:sldMkLst>
          <pc:docMk/>
          <pc:sldMk cId="3487944892" sldId="547"/>
        </pc:sldMkLst>
        <pc:spChg chg="mod">
          <ac:chgData name="Tường SKHĐT" userId="ab9568c39a88b08a" providerId="LiveId" clId="{C9C9E8F3-8FCD-4EE8-870E-E66814DBD785}" dt="2022-11-23T08:50:24.494" v="3899" actId="20577"/>
          <ac:spMkLst>
            <pc:docMk/>
            <pc:sldMk cId="3487944892" sldId="547"/>
            <ac:spMk id="3" creationId="{00000000-0000-0000-0000-000000000000}"/>
          </ac:spMkLst>
        </pc:spChg>
        <pc:spChg chg="mod">
          <ac:chgData name="Tường SKHĐT" userId="ab9568c39a88b08a" providerId="LiveId" clId="{C9C9E8F3-8FCD-4EE8-870E-E66814DBD785}" dt="2022-11-23T08:50:32.078" v="3904" actId="20577"/>
          <ac:spMkLst>
            <pc:docMk/>
            <pc:sldMk cId="3487944892" sldId="547"/>
            <ac:spMk id="8" creationId="{00000000-0000-0000-0000-000000000000}"/>
          </ac:spMkLst>
        </pc:spChg>
      </pc:sldChg>
      <pc:sldChg chg="modSp add mod">
        <pc:chgData name="Tường SKHĐT" userId="ab9568c39a88b08a" providerId="LiveId" clId="{C9C9E8F3-8FCD-4EE8-870E-E66814DBD785}" dt="2022-11-23T08:54:23.510" v="4116" actId="14734"/>
        <pc:sldMkLst>
          <pc:docMk/>
          <pc:sldMk cId="3705417774" sldId="548"/>
        </pc:sldMkLst>
        <pc:spChg chg="mod">
          <ac:chgData name="Tường SKHĐT" userId="ab9568c39a88b08a" providerId="LiveId" clId="{C9C9E8F3-8FCD-4EE8-870E-E66814DBD785}" dt="2022-11-23T08:52:34.716" v="3986" actId="20577"/>
          <ac:spMkLst>
            <pc:docMk/>
            <pc:sldMk cId="3705417774" sldId="548"/>
            <ac:spMk id="4" creationId="{00000000-0000-0000-0000-000000000000}"/>
          </ac:spMkLst>
        </pc:spChg>
        <pc:graphicFrameChg chg="mod modGraphic">
          <ac:chgData name="Tường SKHĐT" userId="ab9568c39a88b08a" providerId="LiveId" clId="{C9C9E8F3-8FCD-4EE8-870E-E66814DBD785}" dt="2022-11-23T08:54:23.510" v="4116" actId="14734"/>
          <ac:graphicFrameMkLst>
            <pc:docMk/>
            <pc:sldMk cId="3705417774" sldId="548"/>
            <ac:graphicFrameMk id="2" creationId="{00000000-0000-0000-0000-000000000000}"/>
          </ac:graphicFrameMkLst>
        </pc:graphicFrameChg>
      </pc:sldChg>
      <pc:sldChg chg="modSp add mod">
        <pc:chgData name="Tường SKHĐT" userId="ab9568c39a88b08a" providerId="LiveId" clId="{C9C9E8F3-8FCD-4EE8-870E-E66814DBD785}" dt="2022-11-23T08:57:08.980" v="4183" actId="20577"/>
        <pc:sldMkLst>
          <pc:docMk/>
          <pc:sldMk cId="1616508679" sldId="549"/>
        </pc:sldMkLst>
        <pc:spChg chg="mod">
          <ac:chgData name="Tường SKHĐT" userId="ab9568c39a88b08a" providerId="LiveId" clId="{C9C9E8F3-8FCD-4EE8-870E-E66814DBD785}" dt="2022-11-23T08:53:51.172" v="4102"/>
          <ac:spMkLst>
            <pc:docMk/>
            <pc:sldMk cId="1616508679" sldId="549"/>
            <ac:spMk id="4" creationId="{00000000-0000-0000-0000-000000000000}"/>
          </ac:spMkLst>
        </pc:spChg>
        <pc:graphicFrameChg chg="modGraphic">
          <ac:chgData name="Tường SKHĐT" userId="ab9568c39a88b08a" providerId="LiveId" clId="{C9C9E8F3-8FCD-4EE8-870E-E66814DBD785}" dt="2022-11-23T08:57:08.980" v="4183" actId="20577"/>
          <ac:graphicFrameMkLst>
            <pc:docMk/>
            <pc:sldMk cId="1616508679" sldId="549"/>
            <ac:graphicFrameMk id="3" creationId="{00000000-0000-0000-0000-000000000000}"/>
          </ac:graphicFrameMkLst>
        </pc:graphicFrameChg>
      </pc:sldChg>
      <pc:sldChg chg="modSp add mod">
        <pc:chgData name="Tường SKHĐT" userId="ab9568c39a88b08a" providerId="LiveId" clId="{C9C9E8F3-8FCD-4EE8-870E-E66814DBD785}" dt="2022-11-23T08:55:40.817" v="4149" actId="1076"/>
        <pc:sldMkLst>
          <pc:docMk/>
          <pc:sldMk cId="4175035142" sldId="550"/>
        </pc:sldMkLst>
        <pc:spChg chg="mod">
          <ac:chgData name="Tường SKHĐT" userId="ab9568c39a88b08a" providerId="LiveId" clId="{C9C9E8F3-8FCD-4EE8-870E-E66814DBD785}" dt="2022-11-23T08:53:55.077" v="4103"/>
          <ac:spMkLst>
            <pc:docMk/>
            <pc:sldMk cId="4175035142" sldId="550"/>
            <ac:spMk id="4" creationId="{00000000-0000-0000-0000-000000000000}"/>
          </ac:spMkLst>
        </pc:spChg>
        <pc:graphicFrameChg chg="mod modGraphic">
          <ac:chgData name="Tường SKHĐT" userId="ab9568c39a88b08a" providerId="LiveId" clId="{C9C9E8F3-8FCD-4EE8-870E-E66814DBD785}" dt="2022-11-23T08:55:40.817" v="4149" actId="1076"/>
          <ac:graphicFrameMkLst>
            <pc:docMk/>
            <pc:sldMk cId="4175035142" sldId="550"/>
            <ac:graphicFrameMk id="3" creationId="{00000000-0000-0000-0000-000000000000}"/>
          </ac:graphicFrameMkLst>
        </pc:graphicFrameChg>
      </pc:sldChg>
    </pc:docChg>
  </pc:docChgLst>
  <pc:docChgLst>
    <pc:chgData name="Tường SKHĐT" userId="ab9568c39a88b08a" providerId="LiveId" clId="{9C79F668-7762-49B4-B8C4-EF402FF964E0}"/>
    <pc:docChg chg="undo custSel addSld delSld modSld">
      <pc:chgData name="Tường SKHĐT" userId="ab9568c39a88b08a" providerId="LiveId" clId="{9C79F668-7762-49B4-B8C4-EF402FF964E0}" dt="2023-03-04T11:48:32.234" v="2434" actId="20577"/>
      <pc:docMkLst>
        <pc:docMk/>
      </pc:docMkLst>
      <pc:sldChg chg="modSp del mod">
        <pc:chgData name="Tường SKHĐT" userId="ab9568c39a88b08a" providerId="LiveId" clId="{9C79F668-7762-49B4-B8C4-EF402FF964E0}" dt="2023-03-04T11:02:34.874" v="956" actId="2696"/>
        <pc:sldMkLst>
          <pc:docMk/>
          <pc:sldMk cId="348917705" sldId="482"/>
        </pc:sldMkLst>
        <pc:graphicFrameChg chg="mod modGraphic">
          <ac:chgData name="Tường SKHĐT" userId="ab9568c39a88b08a" providerId="LiveId" clId="{9C79F668-7762-49B4-B8C4-EF402FF964E0}" dt="2023-03-04T08:20:23.857" v="20" actId="1076"/>
          <ac:graphicFrameMkLst>
            <pc:docMk/>
            <pc:sldMk cId="348917705" sldId="482"/>
            <ac:graphicFrameMk id="2" creationId="{FBFFDBCD-49A2-B604-F9E9-B81E95DF4EB5}"/>
          </ac:graphicFrameMkLst>
        </pc:graphicFrameChg>
      </pc:sldChg>
      <pc:sldChg chg="modSp mod">
        <pc:chgData name="Tường SKHĐT" userId="ab9568c39a88b08a" providerId="LiveId" clId="{9C79F668-7762-49B4-B8C4-EF402FF964E0}" dt="2023-03-04T09:16:30.683" v="169" actId="207"/>
        <pc:sldMkLst>
          <pc:docMk/>
          <pc:sldMk cId="4051799181" sldId="483"/>
        </pc:sldMkLst>
        <pc:graphicFrameChg chg="mod modGraphic">
          <ac:chgData name="Tường SKHĐT" userId="ab9568c39a88b08a" providerId="LiveId" clId="{9C79F668-7762-49B4-B8C4-EF402FF964E0}" dt="2023-03-04T09:16:30.683" v="169" actId="207"/>
          <ac:graphicFrameMkLst>
            <pc:docMk/>
            <pc:sldMk cId="4051799181" sldId="483"/>
            <ac:graphicFrameMk id="2" creationId="{E76DB986-E2D7-83CD-133B-774E10731A3B}"/>
          </ac:graphicFrameMkLst>
        </pc:graphicFrameChg>
      </pc:sldChg>
      <pc:sldChg chg="del">
        <pc:chgData name="Tường SKHĐT" userId="ab9568c39a88b08a" providerId="LiveId" clId="{9C79F668-7762-49B4-B8C4-EF402FF964E0}" dt="2023-03-04T10:26:48.330" v="852" actId="2696"/>
        <pc:sldMkLst>
          <pc:docMk/>
          <pc:sldMk cId="1861422418" sldId="534"/>
        </pc:sldMkLst>
      </pc:sldChg>
      <pc:sldChg chg="modSp add mod">
        <pc:chgData name="Tường SKHĐT" userId="ab9568c39a88b08a" providerId="LiveId" clId="{9C79F668-7762-49B4-B8C4-EF402FF964E0}" dt="2023-03-04T10:27:16.074" v="930" actId="20577"/>
        <pc:sldMkLst>
          <pc:docMk/>
          <pc:sldMk cId="3898226705" sldId="2147468741"/>
        </pc:sldMkLst>
        <pc:spChg chg="mod">
          <ac:chgData name="Tường SKHĐT" userId="ab9568c39a88b08a" providerId="LiveId" clId="{9C79F668-7762-49B4-B8C4-EF402FF964E0}" dt="2023-03-04T10:27:16.074" v="930" actId="20577"/>
          <ac:spMkLst>
            <pc:docMk/>
            <pc:sldMk cId="3898226705" sldId="2147468741"/>
            <ac:spMk id="4" creationId="{A8ED73C0-6DEB-F036-A81D-A84B4FA62951}"/>
          </ac:spMkLst>
        </pc:spChg>
        <pc:spChg chg="mod">
          <ac:chgData name="Tường SKHĐT" userId="ab9568c39a88b08a" providerId="LiveId" clId="{9C79F668-7762-49B4-B8C4-EF402FF964E0}" dt="2023-03-04T10:27:01.735" v="855" actId="20577"/>
          <ac:spMkLst>
            <pc:docMk/>
            <pc:sldMk cId="3898226705" sldId="2147468741"/>
            <ac:spMk id="8" creationId="{DD9DC42D-6B32-D0D8-CA99-BF990F83F37A}"/>
          </ac:spMkLst>
        </pc:spChg>
      </pc:sldChg>
      <pc:sldChg chg="add setBg">
        <pc:chgData name="Tường SKHĐT" userId="ab9568c39a88b08a" providerId="LiveId" clId="{9C79F668-7762-49B4-B8C4-EF402FF964E0}" dt="2023-03-04T10:26:46.145" v="851"/>
        <pc:sldMkLst>
          <pc:docMk/>
          <pc:sldMk cId="3371819825" sldId="2147473466"/>
        </pc:sldMkLst>
      </pc:sldChg>
      <pc:sldChg chg="modSp mod">
        <pc:chgData name="Tường SKHĐT" userId="ab9568c39a88b08a" providerId="LiveId" clId="{9C79F668-7762-49B4-B8C4-EF402FF964E0}" dt="2023-03-04T11:26:44.738" v="1693" actId="20577"/>
        <pc:sldMkLst>
          <pc:docMk/>
          <pc:sldMk cId="914573862" sldId="2147473474"/>
        </pc:sldMkLst>
        <pc:spChg chg="mod">
          <ac:chgData name="Tường SKHĐT" userId="ab9568c39a88b08a" providerId="LiveId" clId="{9C79F668-7762-49B4-B8C4-EF402FF964E0}" dt="2023-03-04T10:26:30.412" v="850" actId="20577"/>
          <ac:spMkLst>
            <pc:docMk/>
            <pc:sldMk cId="914573862" sldId="2147473474"/>
            <ac:spMk id="3" creationId="{D56CE58D-FB5F-1D10-4BAF-E7B0E8BB9294}"/>
          </ac:spMkLst>
        </pc:spChg>
        <pc:graphicFrameChg chg="mod">
          <ac:chgData name="Tường SKHĐT" userId="ab9568c39a88b08a" providerId="LiveId" clId="{9C79F668-7762-49B4-B8C4-EF402FF964E0}" dt="2023-03-04T11:26:44.738" v="1693" actId="20577"/>
          <ac:graphicFrameMkLst>
            <pc:docMk/>
            <pc:sldMk cId="914573862" sldId="2147473474"/>
            <ac:graphicFrameMk id="2" creationId="{A091C242-D65F-E0C5-16D6-B15756DA14A6}"/>
          </ac:graphicFrameMkLst>
        </pc:graphicFrameChg>
      </pc:sldChg>
      <pc:sldChg chg="modSp mod">
        <pc:chgData name="Tường SKHĐT" userId="ab9568c39a88b08a" providerId="LiveId" clId="{9C79F668-7762-49B4-B8C4-EF402FF964E0}" dt="2023-03-04T11:28:43.799" v="1787" actId="1035"/>
        <pc:sldMkLst>
          <pc:docMk/>
          <pc:sldMk cId="3133831680" sldId="2147473476"/>
        </pc:sldMkLst>
        <pc:spChg chg="mod">
          <ac:chgData name="Tường SKHĐT" userId="ab9568c39a88b08a" providerId="LiveId" clId="{9C79F668-7762-49B4-B8C4-EF402FF964E0}" dt="2023-03-04T10:26:26.524" v="847" actId="20577"/>
          <ac:spMkLst>
            <pc:docMk/>
            <pc:sldMk cId="3133831680" sldId="2147473476"/>
            <ac:spMk id="3" creationId="{D56CE58D-FB5F-1D10-4BAF-E7B0E8BB9294}"/>
          </ac:spMkLst>
        </pc:spChg>
        <pc:graphicFrameChg chg="mod">
          <ac:chgData name="Tường SKHĐT" userId="ab9568c39a88b08a" providerId="LiveId" clId="{9C79F668-7762-49B4-B8C4-EF402FF964E0}" dt="2023-03-04T11:28:43.799" v="1787" actId="1035"/>
          <ac:graphicFrameMkLst>
            <pc:docMk/>
            <pc:sldMk cId="3133831680" sldId="2147473476"/>
            <ac:graphicFrameMk id="2" creationId="{A091C242-D65F-E0C5-16D6-B15756DA14A6}"/>
          </ac:graphicFrameMkLst>
        </pc:graphicFrameChg>
      </pc:sldChg>
      <pc:sldChg chg="addSp delSp modSp mod">
        <pc:chgData name="Tường SKHĐT" userId="ab9568c39a88b08a" providerId="LiveId" clId="{9C79F668-7762-49B4-B8C4-EF402FF964E0}" dt="2023-03-04T09:20:59.714" v="191" actId="1076"/>
        <pc:sldMkLst>
          <pc:docMk/>
          <pc:sldMk cId="4092993056" sldId="2147473513"/>
        </pc:sldMkLst>
        <pc:spChg chg="mod">
          <ac:chgData name="Tường SKHĐT" userId="ab9568c39a88b08a" providerId="LiveId" clId="{9C79F668-7762-49B4-B8C4-EF402FF964E0}" dt="2023-03-04T09:20:59.714" v="191" actId="1076"/>
          <ac:spMkLst>
            <pc:docMk/>
            <pc:sldMk cId="4092993056" sldId="2147473513"/>
            <ac:spMk id="4" creationId="{00000000-0000-0000-0000-000000000000}"/>
          </ac:spMkLst>
        </pc:spChg>
        <pc:graphicFrameChg chg="add mod modGraphic">
          <ac:chgData name="Tường SKHĐT" userId="ab9568c39a88b08a" providerId="LiveId" clId="{9C79F668-7762-49B4-B8C4-EF402FF964E0}" dt="2023-03-04T09:20:48.021" v="190" actId="1076"/>
          <ac:graphicFrameMkLst>
            <pc:docMk/>
            <pc:sldMk cId="4092993056" sldId="2147473513"/>
            <ac:graphicFrameMk id="2" creationId="{0D8B5243-E79C-12EE-061D-B81A1D20A95D}"/>
          </ac:graphicFrameMkLst>
        </pc:graphicFrameChg>
        <pc:graphicFrameChg chg="del mod modGraphic">
          <ac:chgData name="Tường SKHĐT" userId="ab9568c39a88b08a" providerId="LiveId" clId="{9C79F668-7762-49B4-B8C4-EF402FF964E0}" dt="2023-03-04T09:16:41.197" v="170" actId="21"/>
          <ac:graphicFrameMkLst>
            <pc:docMk/>
            <pc:sldMk cId="4092993056" sldId="2147473513"/>
            <ac:graphicFrameMk id="7" creationId="{44FD6820-12F5-8C73-583C-7D9F46E04367}"/>
          </ac:graphicFrameMkLst>
        </pc:graphicFrameChg>
      </pc:sldChg>
      <pc:sldChg chg="modSp mod">
        <pc:chgData name="Tường SKHĐT" userId="ab9568c39a88b08a" providerId="LiveId" clId="{9C79F668-7762-49B4-B8C4-EF402FF964E0}" dt="2023-03-04T09:48:20.563" v="290" actId="20577"/>
        <pc:sldMkLst>
          <pc:docMk/>
          <pc:sldMk cId="1563031195" sldId="2147473516"/>
        </pc:sldMkLst>
        <pc:spChg chg="mod">
          <ac:chgData name="Tường SKHĐT" userId="ab9568c39a88b08a" providerId="LiveId" clId="{9C79F668-7762-49B4-B8C4-EF402FF964E0}" dt="2023-03-04T09:48:20.563" v="290" actId="20577"/>
          <ac:spMkLst>
            <pc:docMk/>
            <pc:sldMk cId="1563031195" sldId="2147473516"/>
            <ac:spMk id="4" creationId="{16D24723-A233-03FF-2329-1817AB93339D}"/>
          </ac:spMkLst>
        </pc:spChg>
        <pc:graphicFrameChg chg="mod modGraphic">
          <ac:chgData name="Tường SKHĐT" userId="ab9568c39a88b08a" providerId="LiveId" clId="{9C79F668-7762-49B4-B8C4-EF402FF964E0}" dt="2023-03-04T09:47:50.367" v="265" actId="1076"/>
          <ac:graphicFrameMkLst>
            <pc:docMk/>
            <pc:sldMk cId="1563031195" sldId="2147473516"/>
            <ac:graphicFrameMk id="8" creationId="{B5E5335D-2EED-82AF-3A59-FAE8BB94EAE1}"/>
          </ac:graphicFrameMkLst>
        </pc:graphicFrameChg>
      </pc:sldChg>
      <pc:sldChg chg="addSp modSp mod">
        <pc:chgData name="Tường SKHĐT" userId="ab9568c39a88b08a" providerId="LiveId" clId="{9C79F668-7762-49B4-B8C4-EF402FF964E0}" dt="2023-03-04T11:22:34.767" v="1607" actId="1076"/>
        <pc:sldMkLst>
          <pc:docMk/>
          <pc:sldMk cId="3024842976" sldId="2147473518"/>
        </pc:sldMkLst>
        <pc:spChg chg="mod">
          <ac:chgData name="Tường SKHĐT" userId="ab9568c39a88b08a" providerId="LiveId" clId="{9C79F668-7762-49B4-B8C4-EF402FF964E0}" dt="2023-03-04T10:28:07.771" v="933" actId="20577"/>
          <ac:spMkLst>
            <pc:docMk/>
            <pc:sldMk cId="3024842976" sldId="2147473518"/>
            <ac:spMk id="4" creationId="{16D24723-A233-03FF-2329-1817AB93339D}"/>
          </ac:spMkLst>
        </pc:spChg>
        <pc:graphicFrameChg chg="mod modGraphic">
          <ac:chgData name="Tường SKHĐT" userId="ab9568c39a88b08a" providerId="LiveId" clId="{9C79F668-7762-49B4-B8C4-EF402FF964E0}" dt="2023-03-04T11:22:34.767" v="1607" actId="1076"/>
          <ac:graphicFrameMkLst>
            <pc:docMk/>
            <pc:sldMk cId="3024842976" sldId="2147473518"/>
            <ac:graphicFrameMk id="8" creationId="{B5E5335D-2EED-82AF-3A59-FAE8BB94EAE1}"/>
          </ac:graphicFrameMkLst>
        </pc:graphicFrameChg>
        <pc:picChg chg="add mod">
          <ac:chgData name="Tường SKHĐT" userId="ab9568c39a88b08a" providerId="LiveId" clId="{9C79F668-7762-49B4-B8C4-EF402FF964E0}" dt="2023-03-04T11:22:24.451" v="1603" actId="1076"/>
          <ac:picMkLst>
            <pc:docMk/>
            <pc:sldMk cId="3024842976" sldId="2147473518"/>
            <ac:picMk id="3" creationId="{C3BEF987-00D8-EC17-C0FA-5ED70A56A5FD}"/>
          </ac:picMkLst>
        </pc:picChg>
      </pc:sldChg>
      <pc:sldChg chg="addSp modSp mod">
        <pc:chgData name="Tường SKHĐT" userId="ab9568c39a88b08a" providerId="LiveId" clId="{9C79F668-7762-49B4-B8C4-EF402FF964E0}" dt="2023-03-04T11:45:48.097" v="2202" actId="1076"/>
        <pc:sldMkLst>
          <pc:docMk/>
          <pc:sldMk cId="2957479116" sldId="2147473519"/>
        </pc:sldMkLst>
        <pc:spChg chg="mod">
          <ac:chgData name="Tường SKHĐT" userId="ab9568c39a88b08a" providerId="LiveId" clId="{9C79F668-7762-49B4-B8C4-EF402FF964E0}" dt="2023-03-04T10:28:50.602" v="943" actId="20577"/>
          <ac:spMkLst>
            <pc:docMk/>
            <pc:sldMk cId="2957479116" sldId="2147473519"/>
            <ac:spMk id="4" creationId="{16D24723-A233-03FF-2329-1817AB93339D}"/>
          </ac:spMkLst>
        </pc:spChg>
        <pc:spChg chg="mod">
          <ac:chgData name="Tường SKHĐT" userId="ab9568c39a88b08a" providerId="LiveId" clId="{9C79F668-7762-49B4-B8C4-EF402FF964E0}" dt="2023-03-04T11:45:48.097" v="2202" actId="1076"/>
          <ac:spMkLst>
            <pc:docMk/>
            <pc:sldMk cId="2957479116" sldId="2147473519"/>
            <ac:spMk id="25" creationId="{01DC26C3-E6F4-C27A-8624-3A65D81B6008}"/>
          </ac:spMkLst>
        </pc:spChg>
        <pc:graphicFrameChg chg="mod modGraphic">
          <ac:chgData name="Tường SKHĐT" userId="ab9568c39a88b08a" providerId="LiveId" clId="{9C79F668-7762-49B4-B8C4-EF402FF964E0}" dt="2023-03-04T11:45:42.093" v="2199" actId="14100"/>
          <ac:graphicFrameMkLst>
            <pc:docMk/>
            <pc:sldMk cId="2957479116" sldId="2147473519"/>
            <ac:graphicFrameMk id="8" creationId="{B5E5335D-2EED-82AF-3A59-FAE8BB94EAE1}"/>
          </ac:graphicFrameMkLst>
        </pc:graphicFrameChg>
        <pc:picChg chg="add mod">
          <ac:chgData name="Tường SKHĐT" userId="ab9568c39a88b08a" providerId="LiveId" clId="{9C79F668-7762-49B4-B8C4-EF402FF964E0}" dt="2023-03-04T11:45:43.687" v="2200" actId="1076"/>
          <ac:picMkLst>
            <pc:docMk/>
            <pc:sldMk cId="2957479116" sldId="2147473519"/>
            <ac:picMk id="2" creationId="{8AD87206-4C50-4DB5-8F5A-727327E5FF65}"/>
          </ac:picMkLst>
        </pc:picChg>
        <pc:picChg chg="add mod">
          <ac:chgData name="Tường SKHĐT" userId="ab9568c39a88b08a" providerId="LiveId" clId="{9C79F668-7762-49B4-B8C4-EF402FF964E0}" dt="2023-03-04T11:45:45.689" v="2201" actId="1076"/>
          <ac:picMkLst>
            <pc:docMk/>
            <pc:sldMk cId="2957479116" sldId="2147473519"/>
            <ac:picMk id="3" creationId="{65E2C9CA-C74B-BF6D-7601-969BE1A28E59}"/>
          </ac:picMkLst>
        </pc:picChg>
      </pc:sldChg>
      <pc:sldChg chg="addSp modSp mod">
        <pc:chgData name="Tường SKHĐT" userId="ab9568c39a88b08a" providerId="LiveId" clId="{9C79F668-7762-49B4-B8C4-EF402FF964E0}" dt="2023-03-04T11:48:32.234" v="2434" actId="20577"/>
        <pc:sldMkLst>
          <pc:docMk/>
          <pc:sldMk cId="2307671257" sldId="2147473521"/>
        </pc:sldMkLst>
        <pc:spChg chg="mod">
          <ac:chgData name="Tường SKHĐT" userId="ab9568c39a88b08a" providerId="LiveId" clId="{9C79F668-7762-49B4-B8C4-EF402FF964E0}" dt="2023-03-04T11:48:32.234" v="2434" actId="20577"/>
          <ac:spMkLst>
            <pc:docMk/>
            <pc:sldMk cId="2307671257" sldId="2147473521"/>
            <ac:spMk id="4" creationId="{16D24723-A233-03FF-2329-1817AB93339D}"/>
          </ac:spMkLst>
        </pc:spChg>
        <pc:graphicFrameChg chg="mod modGraphic">
          <ac:chgData name="Tường SKHĐT" userId="ab9568c39a88b08a" providerId="LiveId" clId="{9C79F668-7762-49B4-B8C4-EF402FF964E0}" dt="2023-03-04T11:48:24.699" v="2432" actId="20577"/>
          <ac:graphicFrameMkLst>
            <pc:docMk/>
            <pc:sldMk cId="2307671257" sldId="2147473521"/>
            <ac:graphicFrameMk id="8" creationId="{B5E5335D-2EED-82AF-3A59-FAE8BB94EAE1}"/>
          </ac:graphicFrameMkLst>
        </pc:graphicFrameChg>
        <pc:picChg chg="add mod">
          <ac:chgData name="Tường SKHĐT" userId="ab9568c39a88b08a" providerId="LiveId" clId="{9C79F668-7762-49B4-B8C4-EF402FF964E0}" dt="2023-03-04T11:48:11.461" v="2388" actId="1076"/>
          <ac:picMkLst>
            <pc:docMk/>
            <pc:sldMk cId="2307671257" sldId="2147473521"/>
            <ac:picMk id="2" creationId="{A99A8BED-D9F8-C6E6-298A-EE3B8881B495}"/>
          </ac:picMkLst>
        </pc:picChg>
        <pc:picChg chg="add mod">
          <ac:chgData name="Tường SKHĐT" userId="ab9568c39a88b08a" providerId="LiveId" clId="{9C79F668-7762-49B4-B8C4-EF402FF964E0}" dt="2023-03-04T11:48:10.103" v="2387" actId="1076"/>
          <ac:picMkLst>
            <pc:docMk/>
            <pc:sldMk cId="2307671257" sldId="2147473521"/>
            <ac:picMk id="3" creationId="{22A7FC88-1858-3541-02D2-84374FC6A429}"/>
          </ac:picMkLst>
        </pc:picChg>
      </pc:sldChg>
      <pc:sldChg chg="addSp delSp modSp mod">
        <pc:chgData name="Tường SKHĐT" userId="ab9568c39a88b08a" providerId="LiveId" clId="{9C79F668-7762-49B4-B8C4-EF402FF964E0}" dt="2023-03-04T11:33:06.001" v="1945" actId="1035"/>
        <pc:sldMkLst>
          <pc:docMk/>
          <pc:sldMk cId="2802465441" sldId="2147473522"/>
        </pc:sldMkLst>
        <pc:spChg chg="mod">
          <ac:chgData name="Tường SKHĐT" userId="ab9568c39a88b08a" providerId="LiveId" clId="{9C79F668-7762-49B4-B8C4-EF402FF964E0}" dt="2023-03-04T10:29:40.528" v="954" actId="20577"/>
          <ac:spMkLst>
            <pc:docMk/>
            <pc:sldMk cId="2802465441" sldId="2147473522"/>
            <ac:spMk id="4" creationId="{16D24723-A233-03FF-2329-1817AB93339D}"/>
          </ac:spMkLst>
        </pc:spChg>
        <pc:graphicFrameChg chg="mod modGraphic">
          <ac:chgData name="Tường SKHĐT" userId="ab9568c39a88b08a" providerId="LiveId" clId="{9C79F668-7762-49B4-B8C4-EF402FF964E0}" dt="2023-03-04T11:31:27.833" v="1900" actId="20577"/>
          <ac:graphicFrameMkLst>
            <pc:docMk/>
            <pc:sldMk cId="2802465441" sldId="2147473522"/>
            <ac:graphicFrameMk id="9" creationId="{0FC7DBA8-03B5-1D5D-B7A1-68AA6F62DF7E}"/>
          </ac:graphicFrameMkLst>
        </pc:graphicFrameChg>
        <pc:picChg chg="add del mod">
          <ac:chgData name="Tường SKHĐT" userId="ab9568c39a88b08a" providerId="LiveId" clId="{9C79F668-7762-49B4-B8C4-EF402FF964E0}" dt="2023-03-04T10:30:05.014" v="955" actId="21"/>
          <ac:picMkLst>
            <pc:docMk/>
            <pc:sldMk cId="2802465441" sldId="2147473522"/>
            <ac:picMk id="2" creationId="{499630F7-2A3A-7BA8-4A6A-3CA63A25683F}"/>
          </ac:picMkLst>
        </pc:picChg>
        <pc:picChg chg="add mod">
          <ac:chgData name="Tường SKHĐT" userId="ab9568c39a88b08a" providerId="LiveId" clId="{9C79F668-7762-49B4-B8C4-EF402FF964E0}" dt="2023-03-04T11:33:01.529" v="1926" actId="1035"/>
          <ac:picMkLst>
            <pc:docMk/>
            <pc:sldMk cId="2802465441" sldId="2147473522"/>
            <ac:picMk id="3" creationId="{F1C86665-484F-794D-CFA7-5A2693500FE9}"/>
          </ac:picMkLst>
        </pc:picChg>
        <pc:picChg chg="add mod">
          <ac:chgData name="Tường SKHĐT" userId="ab9568c39a88b08a" providerId="LiveId" clId="{9C79F668-7762-49B4-B8C4-EF402FF964E0}" dt="2023-03-04T11:33:06.001" v="1945" actId="1035"/>
          <ac:picMkLst>
            <pc:docMk/>
            <pc:sldMk cId="2802465441" sldId="2147473522"/>
            <ac:picMk id="7" creationId="{26274E26-13C4-619E-13E0-2799671F389F}"/>
          </ac:picMkLst>
        </pc:picChg>
      </pc:sldChg>
      <pc:sldChg chg="modSp mod">
        <pc:chgData name="Tường SKHĐT" userId="ab9568c39a88b08a" providerId="LiveId" clId="{9C79F668-7762-49B4-B8C4-EF402FF964E0}" dt="2023-03-04T11:16:38.560" v="1474" actId="20577"/>
        <pc:sldMkLst>
          <pc:docMk/>
          <pc:sldMk cId="1822639037" sldId="2147473524"/>
        </pc:sldMkLst>
        <pc:spChg chg="mod">
          <ac:chgData name="Tường SKHĐT" userId="ab9568c39a88b08a" providerId="LiveId" clId="{9C79F668-7762-49B4-B8C4-EF402FF964E0}" dt="2023-03-04T11:04:03.879" v="1034" actId="20577"/>
          <ac:spMkLst>
            <pc:docMk/>
            <pc:sldMk cId="1822639037" sldId="2147473524"/>
            <ac:spMk id="6" creationId="{8F441EC3-0BA7-4F59-8AD1-8445D9757715}"/>
          </ac:spMkLst>
        </pc:spChg>
        <pc:spChg chg="mod">
          <ac:chgData name="Tường SKHĐT" userId="ab9568c39a88b08a" providerId="LiveId" clId="{9C79F668-7762-49B4-B8C4-EF402FF964E0}" dt="2023-03-04T11:04:15.119" v="1054" actId="20577"/>
          <ac:spMkLst>
            <pc:docMk/>
            <pc:sldMk cId="1822639037" sldId="2147473524"/>
            <ac:spMk id="7" creationId="{6C0C263C-8AC5-4EA9-6623-5D53F070A466}"/>
          </ac:spMkLst>
        </pc:spChg>
        <pc:spChg chg="mod">
          <ac:chgData name="Tường SKHĐT" userId="ab9568c39a88b08a" providerId="LiveId" clId="{9C79F668-7762-49B4-B8C4-EF402FF964E0}" dt="2023-03-04T11:04:24.648" v="1067" actId="20577"/>
          <ac:spMkLst>
            <pc:docMk/>
            <pc:sldMk cId="1822639037" sldId="2147473524"/>
            <ac:spMk id="8" creationId="{BE3FBCC4-B1C6-7537-0DC2-C1A9645EA02C}"/>
          </ac:spMkLst>
        </pc:spChg>
        <pc:spChg chg="mod">
          <ac:chgData name="Tường SKHĐT" userId="ab9568c39a88b08a" providerId="LiveId" clId="{9C79F668-7762-49B4-B8C4-EF402FF964E0}" dt="2023-03-04T11:04:32.967" v="1079" actId="20577"/>
          <ac:spMkLst>
            <pc:docMk/>
            <pc:sldMk cId="1822639037" sldId="2147473524"/>
            <ac:spMk id="9" creationId="{BF2EF6F2-669D-669D-8EC0-42EAD0DB9009}"/>
          </ac:spMkLst>
        </pc:spChg>
        <pc:spChg chg="mod">
          <ac:chgData name="Tường SKHĐT" userId="ab9568c39a88b08a" providerId="LiveId" clId="{9C79F668-7762-49B4-B8C4-EF402FF964E0}" dt="2023-03-04T11:04:36.197" v="1080" actId="1076"/>
          <ac:spMkLst>
            <pc:docMk/>
            <pc:sldMk cId="1822639037" sldId="2147473524"/>
            <ac:spMk id="11" creationId="{3C85A78B-8864-7D3C-593A-0204297AF05C}"/>
          </ac:spMkLst>
        </pc:spChg>
        <pc:spChg chg="mod">
          <ac:chgData name="Tường SKHĐT" userId="ab9568c39a88b08a" providerId="LiveId" clId="{9C79F668-7762-49B4-B8C4-EF402FF964E0}" dt="2023-03-04T11:16:14.594" v="1466" actId="14100"/>
          <ac:spMkLst>
            <pc:docMk/>
            <pc:sldMk cId="1822639037" sldId="2147473524"/>
            <ac:spMk id="19" creationId="{1D58FBF3-9576-499C-CA58-084366E54F8C}"/>
          </ac:spMkLst>
        </pc:spChg>
        <pc:spChg chg="mod">
          <ac:chgData name="Tường SKHĐT" userId="ab9568c39a88b08a" providerId="LiveId" clId="{9C79F668-7762-49B4-B8C4-EF402FF964E0}" dt="2023-03-04T11:16:38.560" v="1474" actId="20577"/>
          <ac:spMkLst>
            <pc:docMk/>
            <pc:sldMk cId="1822639037" sldId="2147473524"/>
            <ac:spMk id="20" creationId="{46499BF0-4D64-5CB9-D715-F6433918CD00}"/>
          </ac:spMkLst>
        </pc:spChg>
        <pc:spChg chg="mod">
          <ac:chgData name="Tường SKHĐT" userId="ab9568c39a88b08a" providerId="LiveId" clId="{9C79F668-7762-49B4-B8C4-EF402FF964E0}" dt="2023-03-04T11:16:10.174" v="1464" actId="14100"/>
          <ac:spMkLst>
            <pc:docMk/>
            <pc:sldMk cId="1822639037" sldId="2147473524"/>
            <ac:spMk id="21" creationId="{594D60B9-0CD0-31D2-BDDF-43AA9FE41EBF}"/>
          </ac:spMkLst>
        </pc:spChg>
        <pc:spChg chg="mod">
          <ac:chgData name="Tường SKHĐT" userId="ab9568c39a88b08a" providerId="LiveId" clId="{9C79F668-7762-49B4-B8C4-EF402FF964E0}" dt="2023-03-04T11:16:31.941" v="1472" actId="1076"/>
          <ac:spMkLst>
            <pc:docMk/>
            <pc:sldMk cId="1822639037" sldId="2147473524"/>
            <ac:spMk id="22" creationId="{C2F6210E-E023-1A34-F60D-160959C67461}"/>
          </ac:spMkLst>
        </pc:spChg>
      </pc:sldChg>
      <pc:sldChg chg="modSp mod">
        <pc:chgData name="Tường SKHĐT" userId="ab9568c39a88b08a" providerId="LiveId" clId="{9C79F668-7762-49B4-B8C4-EF402FF964E0}" dt="2023-03-04T11:05:53.807" v="1127" actId="20577"/>
        <pc:sldMkLst>
          <pc:docMk/>
          <pc:sldMk cId="2447285934" sldId="2147473525"/>
        </pc:sldMkLst>
        <pc:spChg chg="mod">
          <ac:chgData name="Tường SKHĐT" userId="ab9568c39a88b08a" providerId="LiveId" clId="{9C79F668-7762-49B4-B8C4-EF402FF964E0}" dt="2023-03-04T11:04:51.751" v="1097" actId="20577"/>
          <ac:spMkLst>
            <pc:docMk/>
            <pc:sldMk cId="2447285934" sldId="2147473525"/>
            <ac:spMk id="50" creationId="{00000000-0000-0000-0000-000000000000}"/>
          </ac:spMkLst>
        </pc:spChg>
        <pc:spChg chg="mod">
          <ac:chgData name="Tường SKHĐT" userId="ab9568c39a88b08a" providerId="LiveId" clId="{9C79F668-7762-49B4-B8C4-EF402FF964E0}" dt="2023-03-04T11:05:01.015" v="1108" actId="20577"/>
          <ac:spMkLst>
            <pc:docMk/>
            <pc:sldMk cId="2447285934" sldId="2147473525"/>
            <ac:spMk id="65" creationId="{00000000-0000-0000-0000-000000000000}"/>
          </ac:spMkLst>
        </pc:spChg>
        <pc:spChg chg="mod">
          <ac:chgData name="Tường SKHĐT" userId="ab9568c39a88b08a" providerId="LiveId" clId="{9C79F668-7762-49B4-B8C4-EF402FF964E0}" dt="2023-03-04T11:05:53.807" v="1127" actId="20577"/>
          <ac:spMkLst>
            <pc:docMk/>
            <pc:sldMk cId="2447285934" sldId="2147473525"/>
            <ac:spMk id="67" creationId="{00000000-0000-0000-0000-000000000000}"/>
          </ac:spMkLst>
        </pc:spChg>
      </pc:sldChg>
      <pc:sldChg chg="addSp delSp modSp mod">
        <pc:chgData name="Tường SKHĐT" userId="ab9568c39a88b08a" providerId="LiveId" clId="{9C79F668-7762-49B4-B8C4-EF402FF964E0}" dt="2023-03-04T11:44:29.211" v="2172" actId="1076"/>
        <pc:sldMkLst>
          <pc:docMk/>
          <pc:sldMk cId="2589014937" sldId="2147473526"/>
        </pc:sldMkLst>
        <pc:spChg chg="mod">
          <ac:chgData name="Tường SKHĐT" userId="ab9568c39a88b08a" providerId="LiveId" clId="{9C79F668-7762-49B4-B8C4-EF402FF964E0}" dt="2023-03-04T11:23:54.370" v="1627" actId="20577"/>
          <ac:spMkLst>
            <pc:docMk/>
            <pc:sldMk cId="2589014937" sldId="2147473526"/>
            <ac:spMk id="3" creationId="{A0D5D58A-756E-802D-A09E-1BEA6D184E77}"/>
          </ac:spMkLst>
        </pc:spChg>
        <pc:spChg chg="mod">
          <ac:chgData name="Tường SKHĐT" userId="ab9568c39a88b08a" providerId="LiveId" clId="{9C79F668-7762-49B4-B8C4-EF402FF964E0}" dt="2023-03-04T11:24:54.659" v="1682" actId="20577"/>
          <ac:spMkLst>
            <pc:docMk/>
            <pc:sldMk cId="2589014937" sldId="2147473526"/>
            <ac:spMk id="16" creationId="{CD1FFBD1-4EFA-ED54-8F81-E3C9559069D4}"/>
          </ac:spMkLst>
        </pc:spChg>
        <pc:spChg chg="mod">
          <ac:chgData name="Tường SKHĐT" userId="ab9568c39a88b08a" providerId="LiveId" clId="{9C79F668-7762-49B4-B8C4-EF402FF964E0}" dt="2023-03-04T11:24:23.711" v="1646" actId="688"/>
          <ac:spMkLst>
            <pc:docMk/>
            <pc:sldMk cId="2589014937" sldId="2147473526"/>
            <ac:spMk id="19" creationId="{122A9A1C-AFFE-3821-B2D0-B1BF037AF2EA}"/>
          </ac:spMkLst>
        </pc:spChg>
        <pc:spChg chg="mod">
          <ac:chgData name="Tường SKHĐT" userId="ab9568c39a88b08a" providerId="LiveId" clId="{9C79F668-7762-49B4-B8C4-EF402FF964E0}" dt="2023-03-04T11:24:19.056" v="1645" actId="20577"/>
          <ac:spMkLst>
            <pc:docMk/>
            <pc:sldMk cId="2589014937" sldId="2147473526"/>
            <ac:spMk id="720" creationId="{00000000-0000-0000-0000-000000000000}"/>
          </ac:spMkLst>
        </pc:spChg>
        <pc:spChg chg="mod">
          <ac:chgData name="Tường SKHĐT" userId="ab9568c39a88b08a" providerId="LiveId" clId="{9C79F668-7762-49B4-B8C4-EF402FF964E0}" dt="2023-03-04T11:24:40.587" v="1666" actId="20577"/>
          <ac:spMkLst>
            <pc:docMk/>
            <pc:sldMk cId="2589014937" sldId="2147473526"/>
            <ac:spMk id="726" creationId="{00000000-0000-0000-0000-000000000000}"/>
          </ac:spMkLst>
        </pc:spChg>
        <pc:picChg chg="del">
          <ac:chgData name="Tường SKHĐT" userId="ab9568c39a88b08a" providerId="LiveId" clId="{9C79F668-7762-49B4-B8C4-EF402FF964E0}" dt="2023-03-04T11:44:10.091" v="2164" actId="21"/>
          <ac:picMkLst>
            <pc:docMk/>
            <pc:sldMk cId="2589014937" sldId="2147473526"/>
            <ac:picMk id="4" creationId="{E24D9673-F5A5-66B1-2863-903204BC6ED7}"/>
          </ac:picMkLst>
        </pc:picChg>
        <pc:picChg chg="add mod ord">
          <ac:chgData name="Tường SKHĐT" userId="ab9568c39a88b08a" providerId="LiveId" clId="{9C79F668-7762-49B4-B8C4-EF402FF964E0}" dt="2023-03-04T11:44:29.211" v="2172" actId="1076"/>
          <ac:picMkLst>
            <pc:docMk/>
            <pc:sldMk cId="2589014937" sldId="2147473526"/>
            <ac:picMk id="5" creationId="{FA953A66-BAF1-340A-A407-B9DFF5A3A068}"/>
          </ac:picMkLst>
        </pc:picChg>
        <pc:picChg chg="add del mod">
          <ac:chgData name="Tường SKHĐT" userId="ab9568c39a88b08a" providerId="LiveId" clId="{9C79F668-7762-49B4-B8C4-EF402FF964E0}" dt="2023-03-04T11:44:27.638" v="2171" actId="21"/>
          <ac:picMkLst>
            <pc:docMk/>
            <pc:sldMk cId="2589014937" sldId="2147473526"/>
            <ac:picMk id="6" creationId="{46C83B22-B4CA-2FCA-BD4E-632477E79A1C}"/>
          </ac:picMkLst>
        </pc:picChg>
        <pc:cxnChg chg="mod ord">
          <ac:chgData name="Tường SKHĐT" userId="ab9568c39a88b08a" providerId="LiveId" clId="{9C79F668-7762-49B4-B8C4-EF402FF964E0}" dt="2023-03-04T11:44:20.596" v="2169" actId="167"/>
          <ac:cxnSpMkLst>
            <pc:docMk/>
            <pc:sldMk cId="2589014937" sldId="2147473526"/>
            <ac:cxnSpMk id="26" creationId="{169C6F43-6D5B-95B4-AB42-3B41CFB5B6B7}"/>
          </ac:cxnSpMkLst>
        </pc:cxnChg>
      </pc:sldChg>
      <pc:sldChg chg="addSp delSp modSp mod">
        <pc:chgData name="Tường SKHĐT" userId="ab9568c39a88b08a" providerId="LiveId" clId="{9C79F668-7762-49B4-B8C4-EF402FF964E0}" dt="2023-03-04T10:14:16.514" v="757" actId="20577"/>
        <pc:sldMkLst>
          <pc:docMk/>
          <pc:sldMk cId="269414345" sldId="2147473528"/>
        </pc:sldMkLst>
        <pc:spChg chg="mod">
          <ac:chgData name="Tường SKHĐT" userId="ab9568c39a88b08a" providerId="LiveId" clId="{9C79F668-7762-49B4-B8C4-EF402FF964E0}" dt="2023-03-04T10:11:06.771" v="662" actId="20577"/>
          <ac:spMkLst>
            <pc:docMk/>
            <pc:sldMk cId="269414345" sldId="2147473528"/>
            <ac:spMk id="4" creationId="{16D24723-A233-03FF-2329-1817AB93339D}"/>
          </ac:spMkLst>
        </pc:spChg>
        <pc:graphicFrameChg chg="mod modGraphic">
          <ac:chgData name="Tường SKHĐT" userId="ab9568c39a88b08a" providerId="LiveId" clId="{9C79F668-7762-49B4-B8C4-EF402FF964E0}" dt="2023-03-04T10:12:26.142" v="675" actId="1076"/>
          <ac:graphicFrameMkLst>
            <pc:docMk/>
            <pc:sldMk cId="269414345" sldId="2147473528"/>
            <ac:graphicFrameMk id="8" creationId="{B5E5335D-2EED-82AF-3A59-FAE8BB94EAE1}"/>
          </ac:graphicFrameMkLst>
        </pc:graphicFrameChg>
        <pc:graphicFrameChg chg="add del mod">
          <ac:chgData name="Tường SKHĐT" userId="ab9568c39a88b08a" providerId="LiveId" clId="{9C79F668-7762-49B4-B8C4-EF402FF964E0}" dt="2023-03-04T10:11:46.840" v="664"/>
          <ac:graphicFrameMkLst>
            <pc:docMk/>
            <pc:sldMk cId="269414345" sldId="2147473528"/>
            <ac:graphicFrameMk id="11" creationId="{014387D7-9A38-DE05-067D-39CFD8CBB2FA}"/>
          </ac:graphicFrameMkLst>
        </pc:graphicFrameChg>
        <pc:graphicFrameChg chg="add mod modGraphic">
          <ac:chgData name="Tường SKHĐT" userId="ab9568c39a88b08a" providerId="LiveId" clId="{9C79F668-7762-49B4-B8C4-EF402FF964E0}" dt="2023-03-04T10:14:16.514" v="757" actId="20577"/>
          <ac:graphicFrameMkLst>
            <pc:docMk/>
            <pc:sldMk cId="269414345" sldId="2147473528"/>
            <ac:graphicFrameMk id="12" creationId="{109A2457-F4BA-9DA8-51CF-3493BDD4EE8F}"/>
          </ac:graphicFrameMkLst>
        </pc:graphicFrameChg>
        <pc:picChg chg="del">
          <ac:chgData name="Tường SKHĐT" userId="ab9568c39a88b08a" providerId="LiveId" clId="{9C79F668-7762-49B4-B8C4-EF402FF964E0}" dt="2023-03-04T10:07:35.638" v="582" actId="21"/>
          <ac:picMkLst>
            <pc:docMk/>
            <pc:sldMk cId="269414345" sldId="2147473528"/>
            <ac:picMk id="3" creationId="{FDA9AD67-878F-8631-AF7B-6D027FFB7EA0}"/>
          </ac:picMkLst>
        </pc:picChg>
        <pc:picChg chg="add del mod">
          <ac:chgData name="Tường SKHĐT" userId="ab9568c39a88b08a" providerId="LiveId" clId="{9C79F668-7762-49B4-B8C4-EF402FF964E0}" dt="2023-03-04T10:09:06.399" v="588" actId="21"/>
          <ac:picMkLst>
            <pc:docMk/>
            <pc:sldMk cId="269414345" sldId="2147473528"/>
            <ac:picMk id="5" creationId="{D4B20B2D-CB74-D485-45C0-9F1EC7BC43FE}"/>
          </ac:picMkLst>
        </pc:picChg>
        <pc:picChg chg="add del mod">
          <ac:chgData name="Tường SKHĐT" userId="ab9568c39a88b08a" providerId="LiveId" clId="{9C79F668-7762-49B4-B8C4-EF402FF964E0}" dt="2023-03-04T10:09:09.608" v="590"/>
          <ac:picMkLst>
            <pc:docMk/>
            <pc:sldMk cId="269414345" sldId="2147473528"/>
            <ac:picMk id="7" creationId="{6C71196E-D7A2-7D43-BF13-AADFC11445C9}"/>
          </ac:picMkLst>
        </pc:picChg>
        <pc:picChg chg="add mod">
          <ac:chgData name="Tường SKHĐT" userId="ab9568c39a88b08a" providerId="LiveId" clId="{9C79F668-7762-49B4-B8C4-EF402FF964E0}" dt="2023-03-04T10:13:21.297" v="686" actId="1076"/>
          <ac:picMkLst>
            <pc:docMk/>
            <pc:sldMk cId="269414345" sldId="2147473528"/>
            <ac:picMk id="10" creationId="{98D5E116-9007-7C05-526C-FE5AD4674A8B}"/>
          </ac:picMkLst>
        </pc:picChg>
      </pc:sldChg>
      <pc:sldChg chg="del">
        <pc:chgData name="Tường SKHĐT" userId="ab9568c39a88b08a" providerId="LiveId" clId="{9C79F668-7762-49B4-B8C4-EF402FF964E0}" dt="2023-03-04T10:01:35.280" v="487" actId="2696"/>
        <pc:sldMkLst>
          <pc:docMk/>
          <pc:sldMk cId="3626927527" sldId="2147473529"/>
        </pc:sldMkLst>
      </pc:sldChg>
      <pc:sldChg chg="modSp add mod">
        <pc:chgData name="Tường SKHĐT" userId="ab9568c39a88b08a" providerId="LiveId" clId="{9C79F668-7762-49B4-B8C4-EF402FF964E0}" dt="2023-03-04T11:02:45.007" v="977" actId="20577"/>
        <pc:sldMkLst>
          <pc:docMk/>
          <pc:sldMk cId="1079553522" sldId="2147473530"/>
        </pc:sldMkLst>
        <pc:spChg chg="mod">
          <ac:chgData name="Tường SKHĐT" userId="ab9568c39a88b08a" providerId="LiveId" clId="{9C79F668-7762-49B4-B8C4-EF402FF964E0}" dt="2023-03-04T10:24:43.720" v="832" actId="14100"/>
          <ac:spMkLst>
            <pc:docMk/>
            <pc:sldMk cId="1079553522" sldId="2147473530"/>
            <ac:spMk id="3" creationId="{C7EF3BED-81DF-2DD1-C4B4-7B19AE4E2F47}"/>
          </ac:spMkLst>
        </pc:spChg>
        <pc:spChg chg="mod">
          <ac:chgData name="Tường SKHĐT" userId="ab9568c39a88b08a" providerId="LiveId" clId="{9C79F668-7762-49B4-B8C4-EF402FF964E0}" dt="2023-03-04T11:02:45.007" v="977" actId="20577"/>
          <ac:spMkLst>
            <pc:docMk/>
            <pc:sldMk cId="1079553522" sldId="2147473530"/>
            <ac:spMk id="4" creationId="{A8ED73C0-6DEB-F036-A81D-A84B4FA62951}"/>
          </ac:spMkLst>
        </pc:spChg>
      </pc:sldChg>
      <pc:sldChg chg="addSp delSp modSp mod">
        <pc:chgData name="Tường SKHĐT" userId="ab9568c39a88b08a" providerId="LiveId" clId="{9C79F668-7762-49B4-B8C4-EF402FF964E0}" dt="2023-03-04T11:13:58.159" v="1394" actId="20577"/>
        <pc:sldMkLst>
          <pc:docMk/>
          <pc:sldMk cId="3856454999" sldId="2147473538"/>
        </pc:sldMkLst>
        <pc:spChg chg="mod">
          <ac:chgData name="Tường SKHĐT" userId="ab9568c39a88b08a" providerId="LiveId" clId="{9C79F668-7762-49B4-B8C4-EF402FF964E0}" dt="2023-03-04T09:48:23.777" v="292" actId="20577"/>
          <ac:spMkLst>
            <pc:docMk/>
            <pc:sldMk cId="3856454999" sldId="2147473538"/>
            <ac:spMk id="4" creationId="{16D24723-A233-03FF-2329-1817AB93339D}"/>
          </ac:spMkLst>
        </pc:spChg>
        <pc:spChg chg="mod">
          <ac:chgData name="Tường SKHĐT" userId="ab9568c39a88b08a" providerId="LiveId" clId="{9C79F668-7762-49B4-B8C4-EF402FF964E0}" dt="2023-03-04T09:48:16.920" v="288" actId="20577"/>
          <ac:spMkLst>
            <pc:docMk/>
            <pc:sldMk cId="3856454999" sldId="2147473538"/>
            <ac:spMk id="25" creationId="{01DC26C3-E6F4-C27A-8624-3A65D81B6008}"/>
          </ac:spMkLst>
        </pc:spChg>
        <pc:graphicFrameChg chg="del">
          <ac:chgData name="Tường SKHĐT" userId="ab9568c39a88b08a" providerId="LiveId" clId="{9C79F668-7762-49B4-B8C4-EF402FF964E0}" dt="2023-03-04T09:50:59.323" v="313" actId="21"/>
          <ac:graphicFrameMkLst>
            <pc:docMk/>
            <pc:sldMk cId="3856454999" sldId="2147473538"/>
            <ac:graphicFrameMk id="2" creationId="{EF0F5B71-CEC4-7AF5-CB0D-C7DDB9798892}"/>
          </ac:graphicFrameMkLst>
        </pc:graphicFrameChg>
        <pc:graphicFrameChg chg="add del mod">
          <ac:chgData name="Tường SKHĐT" userId="ab9568c39a88b08a" providerId="LiveId" clId="{9C79F668-7762-49B4-B8C4-EF402FF964E0}" dt="2023-03-04T09:51:29.407" v="315" actId="21"/>
          <ac:graphicFrameMkLst>
            <pc:docMk/>
            <pc:sldMk cId="3856454999" sldId="2147473538"/>
            <ac:graphicFrameMk id="3" creationId="{5330FB07-5816-D088-F76B-0124EF201077}"/>
          </ac:graphicFrameMkLst>
        </pc:graphicFrameChg>
        <pc:graphicFrameChg chg="add del mod">
          <ac:chgData name="Tường SKHĐT" userId="ab9568c39a88b08a" providerId="LiveId" clId="{9C79F668-7762-49B4-B8C4-EF402FF964E0}" dt="2023-03-04T09:51:31.866" v="317"/>
          <ac:graphicFrameMkLst>
            <pc:docMk/>
            <pc:sldMk cId="3856454999" sldId="2147473538"/>
            <ac:graphicFrameMk id="5" creationId="{34D66836-4164-E3D6-D40A-5FC5E2740A2B}"/>
          </ac:graphicFrameMkLst>
        </pc:graphicFrameChg>
        <pc:graphicFrameChg chg="add mod modGraphic">
          <ac:chgData name="Tường SKHĐT" userId="ab9568c39a88b08a" providerId="LiveId" clId="{9C79F668-7762-49B4-B8C4-EF402FF964E0}" dt="2023-03-04T11:13:58.159" v="1394" actId="20577"/>
          <ac:graphicFrameMkLst>
            <pc:docMk/>
            <pc:sldMk cId="3856454999" sldId="2147473538"/>
            <ac:graphicFrameMk id="7" creationId="{4B1CB47D-4416-A097-B1E9-B34AEDDFEDFA}"/>
          </ac:graphicFrameMkLst>
        </pc:graphicFrameChg>
      </pc:sldChg>
      <pc:sldChg chg="addSp delSp modSp del mod">
        <pc:chgData name="Tường SKHĐT" userId="ab9568c39a88b08a" providerId="LiveId" clId="{9C79F668-7762-49B4-B8C4-EF402FF964E0}" dt="2023-03-04T10:01:11.585" v="482" actId="2696"/>
        <pc:sldMkLst>
          <pc:docMk/>
          <pc:sldMk cId="3229960194" sldId="2147473539"/>
        </pc:sldMkLst>
        <pc:spChg chg="mod">
          <ac:chgData name="Tường SKHĐT" userId="ab9568c39a88b08a" providerId="LiveId" clId="{9C79F668-7762-49B4-B8C4-EF402FF964E0}" dt="2023-03-04T09:56:14.008" v="398" actId="20577"/>
          <ac:spMkLst>
            <pc:docMk/>
            <pc:sldMk cId="3229960194" sldId="2147473539"/>
            <ac:spMk id="4" creationId="{16D24723-A233-03FF-2329-1817AB93339D}"/>
          </ac:spMkLst>
        </pc:spChg>
        <pc:spChg chg="mod">
          <ac:chgData name="Tường SKHĐT" userId="ab9568c39a88b08a" providerId="LiveId" clId="{9C79F668-7762-49B4-B8C4-EF402FF964E0}" dt="2023-03-04T09:59:58.598" v="464" actId="1076"/>
          <ac:spMkLst>
            <pc:docMk/>
            <pc:sldMk cId="3229960194" sldId="2147473539"/>
            <ac:spMk id="25" creationId="{01DC26C3-E6F4-C27A-8624-3A65D81B6008}"/>
          </ac:spMkLst>
        </pc:spChg>
        <pc:graphicFrameChg chg="add mod modGraphic">
          <ac:chgData name="Tường SKHĐT" userId="ab9568c39a88b08a" providerId="LiveId" clId="{9C79F668-7762-49B4-B8C4-EF402FF964E0}" dt="2023-03-04T09:59:00.289" v="462" actId="14734"/>
          <ac:graphicFrameMkLst>
            <pc:docMk/>
            <pc:sldMk cId="3229960194" sldId="2147473539"/>
            <ac:graphicFrameMk id="2" creationId="{F6F1FC43-2DF8-D84C-6942-2C3733D439AA}"/>
          </ac:graphicFrameMkLst>
        </pc:graphicFrameChg>
        <pc:graphicFrameChg chg="del">
          <ac:chgData name="Tường SKHĐT" userId="ab9568c39a88b08a" providerId="LiveId" clId="{9C79F668-7762-49B4-B8C4-EF402FF964E0}" dt="2023-03-04T09:56:09.225" v="390" actId="21"/>
          <ac:graphicFrameMkLst>
            <pc:docMk/>
            <pc:sldMk cId="3229960194" sldId="2147473539"/>
            <ac:graphicFrameMk id="5" creationId="{94B078B5-CCF1-7EBE-C0A5-5F31DCB551BC}"/>
          </ac:graphicFrameMkLst>
        </pc:graphicFrameChg>
      </pc:sldChg>
      <pc:sldChg chg="addSp delSp modSp mod">
        <pc:chgData name="Tường SKHĐT" userId="ab9568c39a88b08a" providerId="LiveId" clId="{9C79F668-7762-49B4-B8C4-EF402FF964E0}" dt="2023-03-04T11:12:55.553" v="1374" actId="207"/>
        <pc:sldMkLst>
          <pc:docMk/>
          <pc:sldMk cId="3246394076" sldId="2147473540"/>
        </pc:sldMkLst>
        <pc:spChg chg="mod">
          <ac:chgData name="Tường SKHĐT" userId="ab9568c39a88b08a" providerId="LiveId" clId="{9C79F668-7762-49B4-B8C4-EF402FF964E0}" dt="2023-03-04T09:48:36.640" v="299" actId="20577"/>
          <ac:spMkLst>
            <pc:docMk/>
            <pc:sldMk cId="3246394076" sldId="2147473540"/>
            <ac:spMk id="4" creationId="{16D24723-A233-03FF-2329-1817AB93339D}"/>
          </ac:spMkLst>
        </pc:spChg>
        <pc:spChg chg="mod">
          <ac:chgData name="Tường SKHĐT" userId="ab9568c39a88b08a" providerId="LiveId" clId="{9C79F668-7762-49B4-B8C4-EF402FF964E0}" dt="2023-03-04T09:48:32.864" v="297" actId="20577"/>
          <ac:spMkLst>
            <pc:docMk/>
            <pc:sldMk cId="3246394076" sldId="2147473540"/>
            <ac:spMk id="25" creationId="{01DC26C3-E6F4-C27A-8624-3A65D81B6008}"/>
          </ac:spMkLst>
        </pc:spChg>
        <pc:graphicFrameChg chg="modGraphic">
          <ac:chgData name="Tường SKHĐT" userId="ab9568c39a88b08a" providerId="LiveId" clId="{9C79F668-7762-49B4-B8C4-EF402FF964E0}" dt="2023-03-04T11:12:55.553" v="1374" actId="207"/>
          <ac:graphicFrameMkLst>
            <pc:docMk/>
            <pc:sldMk cId="3246394076" sldId="2147473540"/>
            <ac:graphicFrameMk id="8" creationId="{B5E5335D-2EED-82AF-3A59-FAE8BB94EAE1}"/>
          </ac:graphicFrameMkLst>
        </pc:graphicFrameChg>
        <pc:graphicFrameChg chg="mod modGraphic">
          <ac:chgData name="Tường SKHĐT" userId="ab9568c39a88b08a" providerId="LiveId" clId="{9C79F668-7762-49B4-B8C4-EF402FF964E0}" dt="2023-03-04T11:12:44.728" v="1370" actId="1076"/>
          <ac:graphicFrameMkLst>
            <pc:docMk/>
            <pc:sldMk cId="3246394076" sldId="2147473540"/>
            <ac:graphicFrameMk id="10" creationId="{8E7087F5-D658-8CDB-7D18-3EEA8C8807BD}"/>
          </ac:graphicFrameMkLst>
        </pc:graphicFrameChg>
        <pc:picChg chg="del">
          <ac:chgData name="Tường SKHĐT" userId="ab9568c39a88b08a" providerId="LiveId" clId="{9C79F668-7762-49B4-B8C4-EF402FF964E0}" dt="2023-03-04T11:12:28.401" v="1361" actId="21"/>
          <ac:picMkLst>
            <pc:docMk/>
            <pc:sldMk cId="3246394076" sldId="2147473540"/>
            <ac:picMk id="2" creationId="{0BE47D8E-0269-EBAE-6C41-E923C63085ED}"/>
          </ac:picMkLst>
        </pc:picChg>
        <pc:picChg chg="add del mod">
          <ac:chgData name="Tường SKHĐT" userId="ab9568c39a88b08a" providerId="LiveId" clId="{9C79F668-7762-49B4-B8C4-EF402FF964E0}" dt="2023-03-04T11:12:31.112" v="1363" actId="21"/>
          <ac:picMkLst>
            <pc:docMk/>
            <pc:sldMk cId="3246394076" sldId="2147473540"/>
            <ac:picMk id="3" creationId="{108A3721-7628-42F9-D676-0FD550A5D84E}"/>
          </ac:picMkLst>
        </pc:picChg>
        <pc:picChg chg="add mod">
          <ac:chgData name="Tường SKHĐT" userId="ab9568c39a88b08a" providerId="LiveId" clId="{9C79F668-7762-49B4-B8C4-EF402FF964E0}" dt="2023-03-04T11:12:51.055" v="1373" actId="14100"/>
          <ac:picMkLst>
            <pc:docMk/>
            <pc:sldMk cId="3246394076" sldId="2147473540"/>
            <ac:picMk id="7" creationId="{AEDBEDB4-DFF5-FABD-B0B5-6F254C16099F}"/>
          </ac:picMkLst>
        </pc:picChg>
      </pc:sldChg>
      <pc:sldChg chg="modSp mod">
        <pc:chgData name="Tường SKHĐT" userId="ab9568c39a88b08a" providerId="LiveId" clId="{9C79F668-7762-49B4-B8C4-EF402FF964E0}" dt="2023-03-04T10:28:24.851" v="939" actId="20577"/>
        <pc:sldMkLst>
          <pc:docMk/>
          <pc:sldMk cId="2298926727" sldId="2147473541"/>
        </pc:sldMkLst>
        <pc:spChg chg="mod">
          <ac:chgData name="Tường SKHĐT" userId="ab9568c39a88b08a" providerId="LiveId" clId="{9C79F668-7762-49B4-B8C4-EF402FF964E0}" dt="2023-03-04T10:28:24.851" v="939" actId="20577"/>
          <ac:spMkLst>
            <pc:docMk/>
            <pc:sldMk cId="2298926727" sldId="2147473541"/>
            <ac:spMk id="4" creationId="{16D24723-A233-03FF-2329-1817AB93339D}"/>
          </ac:spMkLst>
        </pc:spChg>
        <pc:graphicFrameChg chg="modGraphic">
          <ac:chgData name="Tường SKHĐT" userId="ab9568c39a88b08a" providerId="LiveId" clId="{9C79F668-7762-49B4-B8C4-EF402FF964E0}" dt="2023-03-04T09:56:37.093" v="402" actId="20577"/>
          <ac:graphicFrameMkLst>
            <pc:docMk/>
            <pc:sldMk cId="2298926727" sldId="2147473541"/>
            <ac:graphicFrameMk id="8" creationId="{B5E5335D-2EED-82AF-3A59-FAE8BB94EAE1}"/>
          </ac:graphicFrameMkLst>
        </pc:graphicFrameChg>
      </pc:sldChg>
      <pc:sldChg chg="del">
        <pc:chgData name="Tường SKHĐT" userId="ab9568c39a88b08a" providerId="LiveId" clId="{9C79F668-7762-49B4-B8C4-EF402FF964E0}" dt="2023-03-04T10:28:03.479" v="931" actId="2696"/>
        <pc:sldMkLst>
          <pc:docMk/>
          <pc:sldMk cId="1496065467" sldId="2147473542"/>
        </pc:sldMkLst>
      </pc:sldChg>
      <pc:sldChg chg="addSp delSp mod">
        <pc:chgData name="Tường SKHĐT" userId="ab9568c39a88b08a" providerId="LiveId" clId="{9C79F668-7762-49B4-B8C4-EF402FF964E0}" dt="2023-03-04T10:28:42.102" v="941" actId="21"/>
        <pc:sldMkLst>
          <pc:docMk/>
          <pc:sldMk cId="1893164686" sldId="2147473543"/>
        </pc:sldMkLst>
        <pc:picChg chg="add del">
          <ac:chgData name="Tường SKHĐT" userId="ab9568c39a88b08a" providerId="LiveId" clId="{9C79F668-7762-49B4-B8C4-EF402FF964E0}" dt="2023-03-04T10:28:42.102" v="941" actId="21"/>
          <ac:picMkLst>
            <pc:docMk/>
            <pc:sldMk cId="1893164686" sldId="2147473543"/>
            <ac:picMk id="6" creationId="{0D91BA1C-308B-0BF9-8A33-E2FF42C456DF}"/>
          </ac:picMkLst>
        </pc:picChg>
      </pc:sldChg>
      <pc:sldChg chg="del">
        <pc:chgData name="Tường SKHĐT" userId="ab9568c39a88b08a" providerId="LiveId" clId="{9C79F668-7762-49B4-B8C4-EF402FF964E0}" dt="2023-03-04T11:30:57.950" v="1800" actId="2696"/>
        <pc:sldMkLst>
          <pc:docMk/>
          <pc:sldMk cId="4130804454" sldId="2147473544"/>
        </pc:sldMkLst>
      </pc:sldChg>
      <pc:sldChg chg="addSp delSp modSp mod">
        <pc:chgData name="Tường SKHĐT" userId="ab9568c39a88b08a" providerId="LiveId" clId="{9C79F668-7762-49B4-B8C4-EF402FF964E0}" dt="2023-03-04T11:40:31.151" v="2047" actId="1076"/>
        <pc:sldMkLst>
          <pc:docMk/>
          <pc:sldMk cId="1786243308" sldId="2147473545"/>
        </pc:sldMkLst>
        <pc:spChg chg="mod">
          <ac:chgData name="Tường SKHĐT" userId="ab9568c39a88b08a" providerId="LiveId" clId="{9C79F668-7762-49B4-B8C4-EF402FF964E0}" dt="2023-03-04T10:28:54.040" v="947" actId="20577"/>
          <ac:spMkLst>
            <pc:docMk/>
            <pc:sldMk cId="1786243308" sldId="2147473545"/>
            <ac:spMk id="4" creationId="{16D24723-A233-03FF-2329-1817AB93339D}"/>
          </ac:spMkLst>
        </pc:spChg>
        <pc:graphicFrameChg chg="add del mod">
          <ac:chgData name="Tường SKHĐT" userId="ab9568c39a88b08a" providerId="LiveId" clId="{9C79F668-7762-49B4-B8C4-EF402FF964E0}" dt="2023-03-04T11:40:24.509" v="2044"/>
          <ac:graphicFrameMkLst>
            <pc:docMk/>
            <pc:sldMk cId="1786243308" sldId="2147473545"/>
            <ac:graphicFrameMk id="2" creationId="{8D6793B0-0639-CCEE-147A-18945EA3CECF}"/>
          </ac:graphicFrameMkLst>
        </pc:graphicFrameChg>
        <pc:graphicFrameChg chg="add del mod">
          <ac:chgData name="Tường SKHĐT" userId="ab9568c39a88b08a" providerId="LiveId" clId="{9C79F668-7762-49B4-B8C4-EF402FF964E0}" dt="2023-03-04T11:40:24.509" v="2044"/>
          <ac:graphicFrameMkLst>
            <pc:docMk/>
            <pc:sldMk cId="1786243308" sldId="2147473545"/>
            <ac:graphicFrameMk id="3" creationId="{416E2BEE-9746-8EF3-4ADC-A15259B21155}"/>
          </ac:graphicFrameMkLst>
        </pc:graphicFrameChg>
        <pc:graphicFrameChg chg="mod modGraphic">
          <ac:chgData name="Tường SKHĐT" userId="ab9568c39a88b08a" providerId="LiveId" clId="{9C79F668-7762-49B4-B8C4-EF402FF964E0}" dt="2023-03-04T11:40:31.151" v="2047" actId="1076"/>
          <ac:graphicFrameMkLst>
            <pc:docMk/>
            <pc:sldMk cId="1786243308" sldId="2147473545"/>
            <ac:graphicFrameMk id="8" creationId="{B5E5335D-2EED-82AF-3A59-FAE8BB94EAE1}"/>
          </ac:graphicFrameMkLst>
        </pc:graphicFrameChg>
      </pc:sldChg>
      <pc:sldChg chg="modSp mod">
        <pc:chgData name="Tường SKHĐT" userId="ab9568c39a88b08a" providerId="LiveId" clId="{9C79F668-7762-49B4-B8C4-EF402FF964E0}" dt="2023-03-04T11:36:15.823" v="1966" actId="1076"/>
        <pc:sldMkLst>
          <pc:docMk/>
          <pc:sldMk cId="1899568227" sldId="2147473546"/>
        </pc:sldMkLst>
        <pc:spChg chg="mod">
          <ac:chgData name="Tường SKHĐT" userId="ab9568c39a88b08a" providerId="LiveId" clId="{9C79F668-7762-49B4-B8C4-EF402FF964E0}" dt="2023-03-04T10:28:57.274" v="949" actId="20577"/>
          <ac:spMkLst>
            <pc:docMk/>
            <pc:sldMk cId="1899568227" sldId="2147473546"/>
            <ac:spMk id="4" creationId="{16D24723-A233-03FF-2329-1817AB93339D}"/>
          </ac:spMkLst>
        </pc:spChg>
        <pc:spChg chg="mod">
          <ac:chgData name="Tường SKHĐT" userId="ab9568c39a88b08a" providerId="LiveId" clId="{9C79F668-7762-49B4-B8C4-EF402FF964E0}" dt="2023-03-04T11:36:15.823" v="1966" actId="1076"/>
          <ac:spMkLst>
            <pc:docMk/>
            <pc:sldMk cId="1899568227" sldId="2147473546"/>
            <ac:spMk id="25" creationId="{01DC26C3-E6F4-C27A-8624-3A65D81B6008}"/>
          </ac:spMkLst>
        </pc:spChg>
        <pc:graphicFrameChg chg="mod modGraphic">
          <ac:chgData name="Tường SKHĐT" userId="ab9568c39a88b08a" providerId="LiveId" clId="{9C79F668-7762-49B4-B8C4-EF402FF964E0}" dt="2023-03-04T11:36:12.066" v="1965" actId="14100"/>
          <ac:graphicFrameMkLst>
            <pc:docMk/>
            <pc:sldMk cId="1899568227" sldId="2147473546"/>
            <ac:graphicFrameMk id="8" creationId="{B5E5335D-2EED-82AF-3A59-FAE8BB94EAE1}"/>
          </ac:graphicFrameMkLst>
        </pc:graphicFrameChg>
      </pc:sldChg>
      <pc:sldChg chg="addSp delSp modSp mod">
        <pc:chgData name="Tường SKHĐT" userId="ab9568c39a88b08a" providerId="LiveId" clId="{9C79F668-7762-49B4-B8C4-EF402FF964E0}" dt="2023-03-04T11:09:34.831" v="1161" actId="20577"/>
        <pc:sldMkLst>
          <pc:docMk/>
          <pc:sldMk cId="3035689650" sldId="2147473547"/>
        </pc:sldMkLst>
        <pc:spChg chg="mod">
          <ac:chgData name="Tường SKHĐT" userId="ab9568c39a88b08a" providerId="LiveId" clId="{9C79F668-7762-49B4-B8C4-EF402FF964E0}" dt="2023-03-04T09:12:06.104" v="157" actId="1076"/>
          <ac:spMkLst>
            <pc:docMk/>
            <pc:sldMk cId="3035689650" sldId="2147473547"/>
            <ac:spMk id="4" creationId="{00000000-0000-0000-0000-000000000000}"/>
          </ac:spMkLst>
        </pc:spChg>
        <pc:graphicFrameChg chg="add mod modGraphic">
          <ac:chgData name="Tường SKHĐT" userId="ab9568c39a88b08a" providerId="LiveId" clId="{9C79F668-7762-49B4-B8C4-EF402FF964E0}" dt="2023-03-04T11:09:34.831" v="1161" actId="20577"/>
          <ac:graphicFrameMkLst>
            <pc:docMk/>
            <pc:sldMk cId="3035689650" sldId="2147473547"/>
            <ac:graphicFrameMk id="2" creationId="{FAC20BB5-6336-83D2-00B5-08BE62939652}"/>
          </ac:graphicFrameMkLst>
        </pc:graphicFrameChg>
        <pc:graphicFrameChg chg="add del mod">
          <ac:chgData name="Tường SKHĐT" userId="ab9568c39a88b08a" providerId="LiveId" clId="{9C79F668-7762-49B4-B8C4-EF402FF964E0}" dt="2023-03-04T09:12:14.562" v="159"/>
          <ac:graphicFrameMkLst>
            <pc:docMk/>
            <pc:sldMk cId="3035689650" sldId="2147473547"/>
            <ac:graphicFrameMk id="3" creationId="{86ECAF57-B8AE-8FAC-E971-FE053643475D}"/>
          </ac:graphicFrameMkLst>
        </pc:graphicFrameChg>
        <pc:graphicFrameChg chg="add del mod modGraphic">
          <ac:chgData name="Tường SKHĐT" userId="ab9568c39a88b08a" providerId="LiveId" clId="{9C79F668-7762-49B4-B8C4-EF402FF964E0}" dt="2023-03-04T09:08:02.381" v="117" actId="21"/>
          <ac:graphicFrameMkLst>
            <pc:docMk/>
            <pc:sldMk cId="3035689650" sldId="2147473547"/>
            <ac:graphicFrameMk id="7" creationId="{44FD6820-12F5-8C73-583C-7D9F46E04367}"/>
          </ac:graphicFrameMkLst>
        </pc:graphicFrameChg>
      </pc:sldChg>
      <pc:sldChg chg="modSp del mod">
        <pc:chgData name="Tường SKHĐT" userId="ab9568c39a88b08a" providerId="LiveId" clId="{9C79F668-7762-49B4-B8C4-EF402FF964E0}" dt="2023-03-04T11:02:36.674" v="957" actId="2696"/>
        <pc:sldMkLst>
          <pc:docMk/>
          <pc:sldMk cId="1547433331" sldId="2147473548"/>
        </pc:sldMkLst>
        <pc:graphicFrameChg chg="modGraphic">
          <ac:chgData name="Tường SKHĐT" userId="ab9568c39a88b08a" providerId="LiveId" clId="{9C79F668-7762-49B4-B8C4-EF402FF964E0}" dt="2023-03-04T08:20:32.195" v="21" actId="20577"/>
          <ac:graphicFrameMkLst>
            <pc:docMk/>
            <pc:sldMk cId="1547433331" sldId="2147473548"/>
            <ac:graphicFrameMk id="2" creationId="{FBFFDBCD-49A2-B604-F9E9-B81E95DF4EB5}"/>
          </ac:graphicFrameMkLst>
        </pc:graphicFrameChg>
      </pc:sldChg>
      <pc:sldChg chg="addSp delSp modSp add mod">
        <pc:chgData name="Tường SKHĐT" userId="ab9568c39a88b08a" providerId="LiveId" clId="{9C79F668-7762-49B4-B8C4-EF402FF964E0}" dt="2023-03-04T10:28:18.595" v="935" actId="20577"/>
        <pc:sldMkLst>
          <pc:docMk/>
          <pc:sldMk cId="537512070" sldId="2147473549"/>
        </pc:sldMkLst>
        <pc:spChg chg="mod">
          <ac:chgData name="Tường SKHĐT" userId="ab9568c39a88b08a" providerId="LiveId" clId="{9C79F668-7762-49B4-B8C4-EF402FF964E0}" dt="2023-03-04T10:28:18.595" v="935" actId="20577"/>
          <ac:spMkLst>
            <pc:docMk/>
            <pc:sldMk cId="537512070" sldId="2147473549"/>
            <ac:spMk id="4" creationId="{16D24723-A233-03FF-2329-1817AB93339D}"/>
          </ac:spMkLst>
        </pc:spChg>
        <pc:graphicFrameChg chg="add del mod modGraphic">
          <ac:chgData name="Tường SKHĐT" userId="ab9568c39a88b08a" providerId="LiveId" clId="{9C79F668-7762-49B4-B8C4-EF402FF964E0}" dt="2023-03-04T10:00:51.105" v="477" actId="21"/>
          <ac:graphicFrameMkLst>
            <pc:docMk/>
            <pc:sldMk cId="537512070" sldId="2147473549"/>
            <ac:graphicFrameMk id="3" creationId="{4B05F5B9-5B71-465A-D49D-E1B3E4DDB818}"/>
          </ac:graphicFrameMkLst>
        </pc:graphicFrameChg>
        <pc:graphicFrameChg chg="add mod">
          <ac:chgData name="Tường SKHĐT" userId="ab9568c39a88b08a" providerId="LiveId" clId="{9C79F668-7762-49B4-B8C4-EF402FF964E0}" dt="2023-03-04T10:00:57.137" v="479" actId="1076"/>
          <ac:graphicFrameMkLst>
            <pc:docMk/>
            <pc:sldMk cId="537512070" sldId="2147473549"/>
            <ac:graphicFrameMk id="5" creationId="{17F76530-0BF0-6EDB-D1AD-D43D00263199}"/>
          </ac:graphicFrameMkLst>
        </pc:graphicFrameChg>
        <pc:graphicFrameChg chg="mod modGraphic">
          <ac:chgData name="Tường SKHĐT" userId="ab9568c39a88b08a" providerId="LiveId" clId="{9C79F668-7762-49B4-B8C4-EF402FF964E0}" dt="2023-03-04T10:00:59.421" v="480" actId="1076"/>
          <ac:graphicFrameMkLst>
            <pc:docMk/>
            <pc:sldMk cId="537512070" sldId="2147473549"/>
            <ac:graphicFrameMk id="8" creationId="{B5E5335D-2EED-82AF-3A59-FAE8BB94EAE1}"/>
          </ac:graphicFrameMkLst>
        </pc:graphicFrameChg>
        <pc:picChg chg="del">
          <ac:chgData name="Tường SKHĐT" userId="ab9568c39a88b08a" providerId="LiveId" clId="{9C79F668-7762-49B4-B8C4-EF402FF964E0}" dt="2023-03-04T10:00:45.643" v="476" actId="21"/>
          <ac:picMkLst>
            <pc:docMk/>
            <pc:sldMk cId="537512070" sldId="2147473549"/>
            <ac:picMk id="2" creationId="{D332573F-550E-B385-BE21-241ECFBBB573}"/>
          </ac:picMkLst>
        </pc:picChg>
        <pc:picChg chg="mod">
          <ac:chgData name="Tường SKHĐT" userId="ab9568c39a88b08a" providerId="LiveId" clId="{9C79F668-7762-49B4-B8C4-EF402FF964E0}" dt="2023-03-04T10:01:02.177" v="481" actId="1076"/>
          <ac:picMkLst>
            <pc:docMk/>
            <pc:sldMk cId="537512070" sldId="2147473549"/>
            <ac:picMk id="9" creationId="{2ED6FDAE-B540-11E3-282C-E003A11FADC8}"/>
          </ac:picMkLst>
        </pc:picChg>
      </pc:sldChg>
      <pc:sldChg chg="add del">
        <pc:chgData name="Tường SKHĐT" userId="ab9568c39a88b08a" providerId="LiveId" clId="{9C79F668-7762-49B4-B8C4-EF402FF964E0}" dt="2023-03-04T09:55:06.523" v="387" actId="2696"/>
        <pc:sldMkLst>
          <pc:docMk/>
          <pc:sldMk cId="2768455424" sldId="2147473549"/>
        </pc:sldMkLst>
      </pc:sldChg>
      <pc:sldChg chg="addSp delSp modSp add del mod">
        <pc:chgData name="Tường SKHĐT" userId="ab9568c39a88b08a" providerId="LiveId" clId="{9C79F668-7762-49B4-B8C4-EF402FF964E0}" dt="2023-03-04T09:59:28.812" v="463" actId="2696"/>
        <pc:sldMkLst>
          <pc:docMk/>
          <pc:sldMk cId="2815714851" sldId="2147473549"/>
        </pc:sldMkLst>
        <pc:spChg chg="mod">
          <ac:chgData name="Tường SKHĐT" userId="ab9568c39a88b08a" providerId="LiveId" clId="{9C79F668-7762-49B4-B8C4-EF402FF964E0}" dt="2023-03-04T09:56:19.131" v="400" actId="20577"/>
          <ac:spMkLst>
            <pc:docMk/>
            <pc:sldMk cId="2815714851" sldId="2147473549"/>
            <ac:spMk id="4" creationId="{16D24723-A233-03FF-2329-1817AB93339D}"/>
          </ac:spMkLst>
        </pc:spChg>
        <pc:graphicFrameChg chg="add del">
          <ac:chgData name="Tường SKHĐT" userId="ab9568c39a88b08a" providerId="LiveId" clId="{9C79F668-7762-49B4-B8C4-EF402FF964E0}" dt="2023-03-04T09:56:45.241" v="404" actId="21"/>
          <ac:graphicFrameMkLst>
            <pc:docMk/>
            <pc:sldMk cId="2815714851" sldId="2147473549"/>
            <ac:graphicFrameMk id="5" creationId="{94B078B5-CCF1-7EBE-C0A5-5F31DCB551BC}"/>
          </ac:graphicFrameMkLst>
        </pc:graphicFrameChg>
      </pc:sldChg>
      <pc:sldChg chg="modSp add del">
        <pc:chgData name="Tường SKHĐT" userId="ab9568c39a88b08a" providerId="LiveId" clId="{9C79F668-7762-49B4-B8C4-EF402FF964E0}" dt="2023-03-04T09:12:01.506" v="156" actId="2696"/>
        <pc:sldMkLst>
          <pc:docMk/>
          <pc:sldMk cId="3611080259" sldId="2147473549"/>
        </pc:sldMkLst>
        <pc:graphicFrameChg chg="mod">
          <ac:chgData name="Tường SKHĐT" userId="ab9568c39a88b08a" providerId="LiveId" clId="{9C79F668-7762-49B4-B8C4-EF402FF964E0}" dt="2023-03-04T09:08:30.251" v="119"/>
          <ac:graphicFrameMkLst>
            <pc:docMk/>
            <pc:sldMk cId="3611080259" sldId="2147473549"/>
            <ac:graphicFrameMk id="7" creationId="{44FD6820-12F5-8C73-583C-7D9F46E04367}"/>
          </ac:graphicFrameMkLst>
        </pc:graphicFrameChg>
      </pc:sldChg>
      <pc:sldChg chg="add del">
        <pc:chgData name="Tường SKHĐT" userId="ab9568c39a88b08a" providerId="LiveId" clId="{9C79F668-7762-49B4-B8C4-EF402FF964E0}" dt="2023-03-04T09:12:21.872" v="161" actId="2696"/>
        <pc:sldMkLst>
          <pc:docMk/>
          <pc:sldMk cId="4290464444" sldId="2147473549"/>
        </pc:sldMkLst>
      </pc:sldChg>
      <pc:sldChg chg="addSp delSp modSp add mod">
        <pc:chgData name="Tường SKHĐT" userId="ab9568c39a88b08a" providerId="LiveId" clId="{9C79F668-7762-49B4-B8C4-EF402FF964E0}" dt="2023-03-04T11:14:32.665" v="1395" actId="1076"/>
        <pc:sldMkLst>
          <pc:docMk/>
          <pc:sldMk cId="3002944224" sldId="2147473550"/>
        </pc:sldMkLst>
        <pc:spChg chg="mod">
          <ac:chgData name="Tường SKHĐT" userId="ab9568c39a88b08a" providerId="LiveId" clId="{9C79F668-7762-49B4-B8C4-EF402FF964E0}" dt="2023-03-04T10:28:21.666" v="937" actId="20577"/>
          <ac:spMkLst>
            <pc:docMk/>
            <pc:sldMk cId="3002944224" sldId="2147473550"/>
            <ac:spMk id="4" creationId="{16D24723-A233-03FF-2329-1817AB93339D}"/>
          </ac:spMkLst>
        </pc:spChg>
        <pc:graphicFrameChg chg="mod modGraphic">
          <ac:chgData name="Tường SKHĐT" userId="ab9568c39a88b08a" providerId="LiveId" clId="{9C79F668-7762-49B4-B8C4-EF402FF964E0}" dt="2023-03-04T11:14:32.665" v="1395" actId="1076"/>
          <ac:graphicFrameMkLst>
            <pc:docMk/>
            <pc:sldMk cId="3002944224" sldId="2147473550"/>
            <ac:graphicFrameMk id="8" creationId="{B5E5335D-2EED-82AF-3A59-FAE8BB94EAE1}"/>
          </ac:graphicFrameMkLst>
        </pc:graphicFrameChg>
        <pc:picChg chg="mod">
          <ac:chgData name="Tường SKHĐT" userId="ab9568c39a88b08a" providerId="LiveId" clId="{9C79F668-7762-49B4-B8C4-EF402FF964E0}" dt="2023-03-04T10:03:55.923" v="573" actId="1076"/>
          <ac:picMkLst>
            <pc:docMk/>
            <pc:sldMk cId="3002944224" sldId="2147473550"/>
            <ac:picMk id="2" creationId="{D332573F-550E-B385-BE21-241ECFBBB573}"/>
          </ac:picMkLst>
        </pc:picChg>
        <pc:picChg chg="add mod">
          <ac:chgData name="Tường SKHĐT" userId="ab9568c39a88b08a" providerId="LiveId" clId="{9C79F668-7762-49B4-B8C4-EF402FF964E0}" dt="2023-03-04T10:06:31.769" v="581" actId="14100"/>
          <ac:picMkLst>
            <pc:docMk/>
            <pc:sldMk cId="3002944224" sldId="2147473550"/>
            <ac:picMk id="5" creationId="{3CDF5BD5-9FC9-82BF-1AB2-3E88F876FDF7}"/>
          </ac:picMkLst>
        </pc:picChg>
        <pc:picChg chg="del">
          <ac:chgData name="Tường SKHĐT" userId="ab9568c39a88b08a" providerId="LiveId" clId="{9C79F668-7762-49B4-B8C4-EF402FF964E0}" dt="2023-03-04T10:01:22.905" v="485" actId="21"/>
          <ac:picMkLst>
            <pc:docMk/>
            <pc:sldMk cId="3002944224" sldId="2147473550"/>
            <ac:picMk id="9" creationId="{2ED6FDAE-B540-11E3-282C-E003A11FADC8}"/>
          </ac:picMkLst>
        </pc:picChg>
      </pc:sldChg>
      <pc:sldChg chg="delSp modSp add del mod">
        <pc:chgData name="Tường SKHĐT" userId="ab9568c39a88b08a" providerId="LiveId" clId="{9C79F668-7762-49B4-B8C4-EF402FF964E0}" dt="2023-03-04T10:18:17.410" v="766" actId="2696"/>
        <pc:sldMkLst>
          <pc:docMk/>
          <pc:sldMk cId="443054639" sldId="2147473551"/>
        </pc:sldMkLst>
        <pc:graphicFrameChg chg="mod modGraphic">
          <ac:chgData name="Tường SKHĐT" userId="ab9568c39a88b08a" providerId="LiveId" clId="{9C79F668-7762-49B4-B8C4-EF402FF964E0}" dt="2023-03-04T10:15:46.631" v="765" actId="14100"/>
          <ac:graphicFrameMkLst>
            <pc:docMk/>
            <pc:sldMk cId="443054639" sldId="2147473551"/>
            <ac:graphicFrameMk id="8" creationId="{B5E5335D-2EED-82AF-3A59-FAE8BB94EAE1}"/>
          </ac:graphicFrameMkLst>
        </pc:graphicFrameChg>
        <pc:picChg chg="del">
          <ac:chgData name="Tường SKHĐT" userId="ab9568c39a88b08a" providerId="LiveId" clId="{9C79F668-7762-49B4-B8C4-EF402FF964E0}" dt="2023-03-04T10:10:55.229" v="654" actId="21"/>
          <ac:picMkLst>
            <pc:docMk/>
            <pc:sldMk cId="443054639" sldId="2147473551"/>
            <ac:picMk id="10" creationId="{98D5E116-9007-7C05-526C-FE5AD4674A8B}"/>
          </ac:picMkLst>
        </pc:picChg>
      </pc:sldChg>
      <pc:sldChg chg="addSp delSp modSp add mod">
        <pc:chgData name="Tường SKHĐT" userId="ab9568c39a88b08a" providerId="LiveId" clId="{9C79F668-7762-49B4-B8C4-EF402FF964E0}" dt="2023-03-04T10:25:31.787" v="842" actId="14100"/>
        <pc:sldMkLst>
          <pc:docMk/>
          <pc:sldMk cId="3036134749" sldId="2147473551"/>
        </pc:sldMkLst>
        <pc:spChg chg="del">
          <ac:chgData name="Tường SKHĐT" userId="ab9568c39a88b08a" providerId="LiveId" clId="{9C79F668-7762-49B4-B8C4-EF402FF964E0}" dt="2023-03-04T10:20:35.809" v="768" actId="478"/>
          <ac:spMkLst>
            <pc:docMk/>
            <pc:sldMk cId="3036134749" sldId="2147473551"/>
            <ac:spMk id="2" creationId="{5CA64A82-F21B-62CF-B485-0F935AE7046A}"/>
          </ac:spMkLst>
        </pc:spChg>
        <pc:spChg chg="mod">
          <ac:chgData name="Tường SKHĐT" userId="ab9568c39a88b08a" providerId="LiveId" clId="{9C79F668-7762-49B4-B8C4-EF402FF964E0}" dt="2023-03-04T10:23:57.901" v="815" actId="1076"/>
          <ac:spMkLst>
            <pc:docMk/>
            <pc:sldMk cId="3036134749" sldId="2147473551"/>
            <ac:spMk id="8" creationId="{29B4CA7B-9B25-D494-D70E-148AB1A97984}"/>
          </ac:spMkLst>
        </pc:spChg>
        <pc:spChg chg="del">
          <ac:chgData name="Tường SKHĐT" userId="ab9568c39a88b08a" providerId="LiveId" clId="{9C79F668-7762-49B4-B8C4-EF402FF964E0}" dt="2023-03-04T10:20:35.809" v="768" actId="478"/>
          <ac:spMkLst>
            <pc:docMk/>
            <pc:sldMk cId="3036134749" sldId="2147473551"/>
            <ac:spMk id="25" creationId="{76FC2223-CBDC-4B1C-A8C6-0DBB61B65684}"/>
          </ac:spMkLst>
        </pc:spChg>
        <pc:spChg chg="del">
          <ac:chgData name="Tường SKHĐT" userId="ab9568c39a88b08a" providerId="LiveId" clId="{9C79F668-7762-49B4-B8C4-EF402FF964E0}" dt="2023-03-04T10:20:35.809" v="768" actId="478"/>
          <ac:spMkLst>
            <pc:docMk/>
            <pc:sldMk cId="3036134749" sldId="2147473551"/>
            <ac:spMk id="47" creationId="{00000000-0000-0000-0000-000000000000}"/>
          </ac:spMkLst>
        </pc:spChg>
        <pc:spChg chg="del">
          <ac:chgData name="Tường SKHĐT" userId="ab9568c39a88b08a" providerId="LiveId" clId="{9C79F668-7762-49B4-B8C4-EF402FF964E0}" dt="2023-03-04T10:20:35.809" v="768" actId="478"/>
          <ac:spMkLst>
            <pc:docMk/>
            <pc:sldMk cId="3036134749" sldId="2147473551"/>
            <ac:spMk id="48" creationId="{00000000-0000-0000-0000-000000000000}"/>
          </ac:spMkLst>
        </pc:spChg>
        <pc:spChg chg="del">
          <ac:chgData name="Tường SKHĐT" userId="ab9568c39a88b08a" providerId="LiveId" clId="{9C79F668-7762-49B4-B8C4-EF402FF964E0}" dt="2023-03-04T10:20:35.809" v="768" actId="478"/>
          <ac:spMkLst>
            <pc:docMk/>
            <pc:sldMk cId="3036134749" sldId="2147473551"/>
            <ac:spMk id="50" creationId="{00000000-0000-0000-0000-000000000000}"/>
          </ac:spMkLst>
        </pc:spChg>
        <pc:spChg chg="del">
          <ac:chgData name="Tường SKHĐT" userId="ab9568c39a88b08a" providerId="LiveId" clId="{9C79F668-7762-49B4-B8C4-EF402FF964E0}" dt="2023-03-04T10:20:35.809" v="768" actId="478"/>
          <ac:spMkLst>
            <pc:docMk/>
            <pc:sldMk cId="3036134749" sldId="2147473551"/>
            <ac:spMk id="51" creationId="{00000000-0000-0000-0000-000000000000}"/>
          </ac:spMkLst>
        </pc:spChg>
        <pc:spChg chg="del">
          <ac:chgData name="Tường SKHĐT" userId="ab9568c39a88b08a" providerId="LiveId" clId="{9C79F668-7762-49B4-B8C4-EF402FF964E0}" dt="2023-03-04T10:20:35.809" v="768" actId="478"/>
          <ac:spMkLst>
            <pc:docMk/>
            <pc:sldMk cId="3036134749" sldId="2147473551"/>
            <ac:spMk id="56" creationId="{00000000-0000-0000-0000-000000000000}"/>
          </ac:spMkLst>
        </pc:spChg>
        <pc:spChg chg="del">
          <ac:chgData name="Tường SKHĐT" userId="ab9568c39a88b08a" providerId="LiveId" clId="{9C79F668-7762-49B4-B8C4-EF402FF964E0}" dt="2023-03-04T10:20:35.809" v="768" actId="478"/>
          <ac:spMkLst>
            <pc:docMk/>
            <pc:sldMk cId="3036134749" sldId="2147473551"/>
            <ac:spMk id="63" creationId="{00000000-0000-0000-0000-000000000000}"/>
          </ac:spMkLst>
        </pc:spChg>
        <pc:spChg chg="del">
          <ac:chgData name="Tường SKHĐT" userId="ab9568c39a88b08a" providerId="LiveId" clId="{9C79F668-7762-49B4-B8C4-EF402FF964E0}" dt="2023-03-04T10:20:35.809" v="768" actId="478"/>
          <ac:spMkLst>
            <pc:docMk/>
            <pc:sldMk cId="3036134749" sldId="2147473551"/>
            <ac:spMk id="64" creationId="{00000000-0000-0000-0000-000000000000}"/>
          </ac:spMkLst>
        </pc:spChg>
        <pc:spChg chg="del">
          <ac:chgData name="Tường SKHĐT" userId="ab9568c39a88b08a" providerId="LiveId" clId="{9C79F668-7762-49B4-B8C4-EF402FF964E0}" dt="2023-03-04T10:20:35.809" v="768" actId="478"/>
          <ac:spMkLst>
            <pc:docMk/>
            <pc:sldMk cId="3036134749" sldId="2147473551"/>
            <ac:spMk id="65" creationId="{00000000-0000-0000-0000-000000000000}"/>
          </ac:spMkLst>
        </pc:spChg>
        <pc:spChg chg="del">
          <ac:chgData name="Tường SKHĐT" userId="ab9568c39a88b08a" providerId="LiveId" clId="{9C79F668-7762-49B4-B8C4-EF402FF964E0}" dt="2023-03-04T10:20:35.809" v="768" actId="478"/>
          <ac:spMkLst>
            <pc:docMk/>
            <pc:sldMk cId="3036134749" sldId="2147473551"/>
            <ac:spMk id="66" creationId="{76FC2223-CBDC-4B1C-A8C6-0DBB61B65684}"/>
          </ac:spMkLst>
        </pc:spChg>
        <pc:spChg chg="del">
          <ac:chgData name="Tường SKHĐT" userId="ab9568c39a88b08a" providerId="LiveId" clId="{9C79F668-7762-49B4-B8C4-EF402FF964E0}" dt="2023-03-04T10:20:35.809" v="768" actId="478"/>
          <ac:spMkLst>
            <pc:docMk/>
            <pc:sldMk cId="3036134749" sldId="2147473551"/>
            <ac:spMk id="67" creationId="{00000000-0000-0000-0000-000000000000}"/>
          </ac:spMkLst>
        </pc:spChg>
        <pc:grpChg chg="del">
          <ac:chgData name="Tường SKHĐT" userId="ab9568c39a88b08a" providerId="LiveId" clId="{9C79F668-7762-49B4-B8C4-EF402FF964E0}" dt="2023-03-04T10:20:35.809" v="768" actId="478"/>
          <ac:grpSpMkLst>
            <pc:docMk/>
            <pc:sldMk cId="3036134749" sldId="2147473551"/>
            <ac:grpSpMk id="36" creationId="{00000000-0000-0000-0000-000000000000}"/>
          </ac:grpSpMkLst>
        </pc:grpChg>
        <pc:grpChg chg="del">
          <ac:chgData name="Tường SKHĐT" userId="ab9568c39a88b08a" providerId="LiveId" clId="{9C79F668-7762-49B4-B8C4-EF402FF964E0}" dt="2023-03-04T10:20:35.809" v="768" actId="478"/>
          <ac:grpSpMkLst>
            <pc:docMk/>
            <pc:sldMk cId="3036134749" sldId="2147473551"/>
            <ac:grpSpMk id="41" creationId="{00000000-0000-0000-0000-000000000000}"/>
          </ac:grpSpMkLst>
        </pc:grpChg>
        <pc:graphicFrameChg chg="add del mod modGraphic">
          <ac:chgData name="Tường SKHĐT" userId="ab9568c39a88b08a" providerId="LiveId" clId="{9C79F668-7762-49B4-B8C4-EF402FF964E0}" dt="2023-03-04T10:23:08.104" v="799" actId="21"/>
          <ac:graphicFrameMkLst>
            <pc:docMk/>
            <pc:sldMk cId="3036134749" sldId="2147473551"/>
            <ac:graphicFrameMk id="3" creationId="{A598047E-A740-FA0F-51F0-D785E318A6FC}"/>
          </ac:graphicFrameMkLst>
        </pc:graphicFrameChg>
        <pc:graphicFrameChg chg="add del mod">
          <ac:chgData name="Tường SKHĐT" userId="ab9568c39a88b08a" providerId="LiveId" clId="{9C79F668-7762-49B4-B8C4-EF402FF964E0}" dt="2023-03-04T10:23:10.327" v="801"/>
          <ac:graphicFrameMkLst>
            <pc:docMk/>
            <pc:sldMk cId="3036134749" sldId="2147473551"/>
            <ac:graphicFrameMk id="4" creationId="{25E5C8F1-BFA0-9AD9-20BB-4F20B122C22E}"/>
          </ac:graphicFrameMkLst>
        </pc:graphicFrameChg>
        <pc:picChg chg="add mod">
          <ac:chgData name="Tường SKHĐT" userId="ab9568c39a88b08a" providerId="LiveId" clId="{9C79F668-7762-49B4-B8C4-EF402FF964E0}" dt="2023-03-04T10:25:23.201" v="838" actId="1076"/>
          <ac:picMkLst>
            <pc:docMk/>
            <pc:sldMk cId="3036134749" sldId="2147473551"/>
            <ac:picMk id="6" creationId="{1361ED7E-B35F-9192-50D0-B37264EF7016}"/>
          </ac:picMkLst>
        </pc:picChg>
        <pc:picChg chg="add mod">
          <ac:chgData name="Tường SKHĐT" userId="ab9568c39a88b08a" providerId="LiveId" clId="{9C79F668-7762-49B4-B8C4-EF402FF964E0}" dt="2023-03-04T10:25:24.723" v="839" actId="1076"/>
          <ac:picMkLst>
            <pc:docMk/>
            <pc:sldMk cId="3036134749" sldId="2147473551"/>
            <ac:picMk id="7" creationId="{455CD825-D54D-FCEA-81AF-11182774D584}"/>
          </ac:picMkLst>
        </pc:picChg>
        <pc:picChg chg="add mod">
          <ac:chgData name="Tường SKHĐT" userId="ab9568c39a88b08a" providerId="LiveId" clId="{9C79F668-7762-49B4-B8C4-EF402FF964E0}" dt="2023-03-04T10:25:31.787" v="842" actId="14100"/>
          <ac:picMkLst>
            <pc:docMk/>
            <pc:sldMk cId="3036134749" sldId="2147473551"/>
            <ac:picMk id="9" creationId="{7246F3BF-F456-CF2C-6AA7-82B046A0EB87}"/>
          </ac:picMkLst>
        </pc:picChg>
        <pc:picChg chg="del">
          <ac:chgData name="Tường SKHĐT" userId="ab9568c39a88b08a" providerId="LiveId" clId="{9C79F668-7762-49B4-B8C4-EF402FF964E0}" dt="2023-03-04T10:20:35.809" v="768" actId="478"/>
          <ac:picMkLst>
            <pc:docMk/>
            <pc:sldMk cId="3036134749" sldId="2147473551"/>
            <ac:picMk id="39" creationId="{00000000-0000-0000-0000-000000000000}"/>
          </ac:picMkLst>
        </pc:picChg>
      </pc:sldChg>
      <pc:sldChg chg="modSp add del mod">
        <pc:chgData name="Tường SKHĐT" userId="ab9568c39a88b08a" providerId="LiveId" clId="{9C79F668-7762-49B4-B8C4-EF402FF964E0}" dt="2023-03-04T11:42:06.629" v="2118" actId="2696"/>
        <pc:sldMkLst>
          <pc:docMk/>
          <pc:sldMk cId="3580774537" sldId="2147473552"/>
        </pc:sldMkLst>
        <pc:graphicFrameChg chg="mod modGraphic">
          <ac:chgData name="Tường SKHĐT" userId="ab9568c39a88b08a" providerId="LiveId" clId="{9C79F668-7762-49B4-B8C4-EF402FF964E0}" dt="2023-03-04T11:41:58.150" v="2117" actId="20577"/>
          <ac:graphicFrameMkLst>
            <pc:docMk/>
            <pc:sldMk cId="3580774537" sldId="2147473552"/>
            <ac:graphicFrameMk id="8" creationId="{B5E5335D-2EED-82AF-3A59-FAE8BB94EAE1}"/>
          </ac:graphicFrameMkLst>
        </pc:graphicFrameChg>
      </pc:sldChg>
    </pc:docChg>
  </pc:docChgLst>
  <pc:docChgLst>
    <pc:chgData name="Tường SKHĐT" userId="ab9568c39a88b08a" providerId="LiveId" clId="{583D029E-5C15-4FB2-A6DE-F906E35414C7}"/>
    <pc:docChg chg="custSel addSld delSld modSld">
      <pc:chgData name="Tường SKHĐT" userId="ab9568c39a88b08a" providerId="LiveId" clId="{583D029E-5C15-4FB2-A6DE-F906E35414C7}" dt="2023-01-05T09:28:29.900" v="1501" actId="14100"/>
      <pc:docMkLst>
        <pc:docMk/>
      </pc:docMkLst>
      <pc:sldChg chg="modSp add setBg">
        <pc:chgData name="Tường SKHĐT" userId="ab9568c39a88b08a" providerId="LiveId" clId="{583D029E-5C15-4FB2-A6DE-F906E35414C7}" dt="2023-01-04T09:44:01.573" v="1"/>
        <pc:sldMkLst>
          <pc:docMk/>
          <pc:sldMk cId="1195628240" sldId="312"/>
        </pc:sldMkLst>
        <pc:spChg chg="mod">
          <ac:chgData name="Tường SKHĐT" userId="ab9568c39a88b08a" providerId="LiveId" clId="{583D029E-5C15-4FB2-A6DE-F906E35414C7}" dt="2023-01-04T09:44:01.573" v="1"/>
          <ac:spMkLst>
            <pc:docMk/>
            <pc:sldMk cId="1195628240" sldId="312"/>
            <ac:spMk id="2" creationId="{CA391794-986C-4679-93EA-5F3C3EE6C82F}"/>
          </ac:spMkLst>
        </pc:spChg>
        <pc:spChg chg="mod">
          <ac:chgData name="Tường SKHĐT" userId="ab9568c39a88b08a" providerId="LiveId" clId="{583D029E-5C15-4FB2-A6DE-F906E35414C7}" dt="2023-01-04T09:44:01.573" v="1"/>
          <ac:spMkLst>
            <pc:docMk/>
            <pc:sldMk cId="1195628240" sldId="312"/>
            <ac:spMk id="3" creationId="{2875403B-F6A5-4855-B204-4A9D1F5B268F}"/>
          </ac:spMkLst>
        </pc:spChg>
        <pc:picChg chg="mod">
          <ac:chgData name="Tường SKHĐT" userId="ab9568c39a88b08a" providerId="LiveId" clId="{583D029E-5C15-4FB2-A6DE-F906E35414C7}" dt="2023-01-04T09:44:01.573" v="1"/>
          <ac:picMkLst>
            <pc:docMk/>
            <pc:sldMk cId="1195628240" sldId="312"/>
            <ac:picMk id="14" creationId="{4BA9F69C-2454-4BE0-A8EA-D3E6ADF31657}"/>
          </ac:picMkLst>
        </pc:picChg>
      </pc:sldChg>
      <pc:sldChg chg="modSp mod">
        <pc:chgData name="Tường SKHĐT" userId="ab9568c39a88b08a" providerId="LiveId" clId="{583D029E-5C15-4FB2-A6DE-F906E35414C7}" dt="2023-01-05T09:27:29.771" v="1405" actId="20577"/>
        <pc:sldMkLst>
          <pc:docMk/>
          <pc:sldMk cId="1874412585" sldId="456"/>
        </pc:sldMkLst>
        <pc:spChg chg="mod">
          <ac:chgData name="Tường SKHĐT" userId="ab9568c39a88b08a" providerId="LiveId" clId="{583D029E-5C15-4FB2-A6DE-F906E35414C7}" dt="2023-01-05T09:27:29.771" v="1405" actId="20577"/>
          <ac:spMkLst>
            <pc:docMk/>
            <pc:sldMk cId="1874412585" sldId="456"/>
            <ac:spMk id="4" creationId="{CECFA33A-C2EF-0C67-258B-DBB815AA1B99}"/>
          </ac:spMkLst>
        </pc:spChg>
        <pc:cxnChg chg="mod">
          <ac:chgData name="Tường SKHĐT" userId="ab9568c39a88b08a" providerId="LiveId" clId="{583D029E-5C15-4FB2-A6DE-F906E35414C7}" dt="2023-01-05T09:27:27.362" v="1404" actId="14100"/>
          <ac:cxnSpMkLst>
            <pc:docMk/>
            <pc:sldMk cId="1874412585" sldId="456"/>
            <ac:cxnSpMk id="12" creationId="{3826D4CE-A4D8-EBE2-C44F-E6B388C92E69}"/>
          </ac:cxnSpMkLst>
        </pc:cxnChg>
      </pc:sldChg>
      <pc:sldChg chg="del">
        <pc:chgData name="Tường SKHĐT" userId="ab9568c39a88b08a" providerId="LiveId" clId="{583D029E-5C15-4FB2-A6DE-F906E35414C7}" dt="2023-01-04T09:54:45.203" v="3" actId="2696"/>
        <pc:sldMkLst>
          <pc:docMk/>
          <pc:sldMk cId="2771743581" sldId="459"/>
        </pc:sldMkLst>
      </pc:sldChg>
      <pc:sldChg chg="modSp mod">
        <pc:chgData name="Tường SKHĐT" userId="ab9568c39a88b08a" providerId="LiveId" clId="{583D029E-5C15-4FB2-A6DE-F906E35414C7}" dt="2023-01-05T08:57:42.552" v="977" actId="14100"/>
        <pc:sldMkLst>
          <pc:docMk/>
          <pc:sldMk cId="1861422418" sldId="534"/>
        </pc:sldMkLst>
        <pc:picChg chg="mod">
          <ac:chgData name="Tường SKHĐT" userId="ab9568c39a88b08a" providerId="LiveId" clId="{583D029E-5C15-4FB2-A6DE-F906E35414C7}" dt="2023-01-05T08:57:42.552" v="977" actId="14100"/>
          <ac:picMkLst>
            <pc:docMk/>
            <pc:sldMk cId="1861422418" sldId="534"/>
            <ac:picMk id="6" creationId="{702D596B-50EE-EE71-716D-7F9397D896C4}"/>
          </ac:picMkLst>
        </pc:picChg>
      </pc:sldChg>
      <pc:sldChg chg="del">
        <pc:chgData name="Tường SKHĐT" userId="ab9568c39a88b08a" providerId="LiveId" clId="{583D029E-5C15-4FB2-A6DE-F906E35414C7}" dt="2023-01-04T09:54:49.224" v="4" actId="2696"/>
        <pc:sldMkLst>
          <pc:docMk/>
          <pc:sldMk cId="1964178775" sldId="563"/>
        </pc:sldMkLst>
      </pc:sldChg>
      <pc:sldChg chg="del">
        <pc:chgData name="Tường SKHĐT" userId="ab9568c39a88b08a" providerId="LiveId" clId="{583D029E-5C15-4FB2-A6DE-F906E35414C7}" dt="2023-01-04T10:04:38.323" v="367" actId="2696"/>
        <pc:sldMkLst>
          <pc:docMk/>
          <pc:sldMk cId="443328843" sldId="2147473456"/>
        </pc:sldMkLst>
      </pc:sldChg>
      <pc:sldChg chg="del">
        <pc:chgData name="Tường SKHĐT" userId="ab9568c39a88b08a" providerId="LiveId" clId="{583D029E-5C15-4FB2-A6DE-F906E35414C7}" dt="2023-01-04T10:04:34.647" v="366" actId="2696"/>
        <pc:sldMkLst>
          <pc:docMk/>
          <pc:sldMk cId="915810810" sldId="2147473469"/>
        </pc:sldMkLst>
      </pc:sldChg>
      <pc:sldChg chg="modSp mod">
        <pc:chgData name="Tường SKHĐT" userId="ab9568c39a88b08a" providerId="LiveId" clId="{583D029E-5C15-4FB2-A6DE-F906E35414C7}" dt="2023-01-05T08:57:19.142" v="973" actId="20577"/>
        <pc:sldMkLst>
          <pc:docMk/>
          <pc:sldMk cId="3133831680" sldId="2147473476"/>
        </pc:sldMkLst>
        <pc:spChg chg="mod">
          <ac:chgData name="Tường SKHĐT" userId="ab9568c39a88b08a" providerId="LiveId" clId="{583D029E-5C15-4FB2-A6DE-F906E35414C7}" dt="2023-01-05T08:57:19.142" v="973" actId="20577"/>
          <ac:spMkLst>
            <pc:docMk/>
            <pc:sldMk cId="3133831680" sldId="2147473476"/>
            <ac:spMk id="3" creationId="{D56CE58D-FB5F-1D10-4BAF-E7B0E8BB9294}"/>
          </ac:spMkLst>
        </pc:spChg>
      </pc:sldChg>
      <pc:sldChg chg="modSp mod">
        <pc:chgData name="Tường SKHĐT" userId="ab9568c39a88b08a" providerId="LiveId" clId="{583D029E-5C15-4FB2-A6DE-F906E35414C7}" dt="2023-01-05T09:25:08.809" v="1251" actId="20577"/>
        <pc:sldMkLst>
          <pc:docMk/>
          <pc:sldMk cId="723199981" sldId="2147473477"/>
        </pc:sldMkLst>
        <pc:graphicFrameChg chg="mod modGraphic">
          <ac:chgData name="Tường SKHĐT" userId="ab9568c39a88b08a" providerId="LiveId" clId="{583D029E-5C15-4FB2-A6DE-F906E35414C7}" dt="2023-01-05T09:25:08.809" v="1251" actId="20577"/>
          <ac:graphicFrameMkLst>
            <pc:docMk/>
            <pc:sldMk cId="723199981" sldId="2147473477"/>
            <ac:graphicFrameMk id="2" creationId="{A091C242-D65F-E0C5-16D6-B15756DA14A6}"/>
          </ac:graphicFrameMkLst>
        </pc:graphicFrameChg>
      </pc:sldChg>
      <pc:sldChg chg="modSp add del mod">
        <pc:chgData name="Tường SKHĐT" userId="ab9568c39a88b08a" providerId="LiveId" clId="{583D029E-5C15-4FB2-A6DE-F906E35414C7}" dt="2023-01-04T10:04:25.839" v="365" actId="2696"/>
        <pc:sldMkLst>
          <pc:docMk/>
          <pc:sldMk cId="146694085" sldId="2147473492"/>
        </pc:sldMkLst>
        <pc:spChg chg="mod">
          <ac:chgData name="Tường SKHĐT" userId="ab9568c39a88b08a" providerId="LiveId" clId="{583D029E-5C15-4FB2-A6DE-F906E35414C7}" dt="2023-01-04T09:55:23.226" v="97" actId="20577"/>
          <ac:spMkLst>
            <pc:docMk/>
            <pc:sldMk cId="146694085" sldId="2147473492"/>
            <ac:spMk id="16" creationId="{1E899F37-DC43-E33C-4CA1-511CEAC12C15}"/>
          </ac:spMkLst>
        </pc:spChg>
      </pc:sldChg>
      <pc:sldChg chg="addSp delSp modSp add mod">
        <pc:chgData name="Tường SKHĐT" userId="ab9568c39a88b08a" providerId="LiveId" clId="{583D029E-5C15-4FB2-A6DE-F906E35414C7}" dt="2023-01-04T10:03:47.638" v="364"/>
        <pc:sldMkLst>
          <pc:docMk/>
          <pc:sldMk cId="2479977582" sldId="2147473493"/>
        </pc:sldMkLst>
        <pc:spChg chg="del">
          <ac:chgData name="Tường SKHĐT" userId="ab9568c39a88b08a" providerId="LiveId" clId="{583D029E-5C15-4FB2-A6DE-F906E35414C7}" dt="2023-01-04T09:56:00.194" v="99" actId="21"/>
          <ac:spMkLst>
            <pc:docMk/>
            <pc:sldMk cId="2479977582" sldId="2147473493"/>
            <ac:spMk id="4" creationId="{2DF84545-8DBF-6171-C2F6-4F4668DCC9BA}"/>
          </ac:spMkLst>
        </pc:spChg>
        <pc:spChg chg="del">
          <ac:chgData name="Tường SKHĐT" userId="ab9568c39a88b08a" providerId="LiveId" clId="{583D029E-5C15-4FB2-A6DE-F906E35414C7}" dt="2023-01-04T09:56:05.801" v="100" actId="21"/>
          <ac:spMkLst>
            <pc:docMk/>
            <pc:sldMk cId="2479977582" sldId="2147473493"/>
            <ac:spMk id="61" creationId="{00000000-0000-0000-0000-000000000000}"/>
          </ac:spMkLst>
        </pc:spChg>
        <pc:spChg chg="del">
          <ac:chgData name="Tường SKHĐT" userId="ab9568c39a88b08a" providerId="LiveId" clId="{583D029E-5C15-4FB2-A6DE-F906E35414C7}" dt="2023-01-04T09:56:08.336" v="101" actId="21"/>
          <ac:spMkLst>
            <pc:docMk/>
            <pc:sldMk cId="2479977582" sldId="2147473493"/>
            <ac:spMk id="62" creationId="{00000000-0000-0000-0000-000000000000}"/>
          </ac:spMkLst>
        </pc:spChg>
        <pc:spChg chg="del">
          <ac:chgData name="Tường SKHĐT" userId="ab9568c39a88b08a" providerId="LiveId" clId="{583D029E-5C15-4FB2-A6DE-F906E35414C7}" dt="2023-01-04T09:56:00.194" v="99" actId="21"/>
          <ac:spMkLst>
            <pc:docMk/>
            <pc:sldMk cId="2479977582" sldId="2147473493"/>
            <ac:spMk id="67" creationId="{00000000-0000-0000-0000-000000000000}"/>
          </ac:spMkLst>
        </pc:spChg>
        <pc:spChg chg="del">
          <ac:chgData name="Tường SKHĐT" userId="ab9568c39a88b08a" providerId="LiveId" clId="{583D029E-5C15-4FB2-A6DE-F906E35414C7}" dt="2023-01-04T09:56:00.194" v="99" actId="21"/>
          <ac:spMkLst>
            <pc:docMk/>
            <pc:sldMk cId="2479977582" sldId="2147473493"/>
            <ac:spMk id="68" creationId="{00000000-0000-0000-0000-000000000000}"/>
          </ac:spMkLst>
        </pc:spChg>
        <pc:spChg chg="del">
          <ac:chgData name="Tường SKHĐT" userId="ab9568c39a88b08a" providerId="LiveId" clId="{583D029E-5C15-4FB2-A6DE-F906E35414C7}" dt="2023-01-04T09:56:05.801" v="100" actId="21"/>
          <ac:spMkLst>
            <pc:docMk/>
            <pc:sldMk cId="2479977582" sldId="2147473493"/>
            <ac:spMk id="73" creationId="{00000000-0000-0000-0000-000000000000}"/>
          </ac:spMkLst>
        </pc:spChg>
        <pc:spChg chg="del">
          <ac:chgData name="Tường SKHĐT" userId="ab9568c39a88b08a" providerId="LiveId" clId="{583D029E-5C15-4FB2-A6DE-F906E35414C7}" dt="2023-01-04T09:56:05.801" v="100" actId="21"/>
          <ac:spMkLst>
            <pc:docMk/>
            <pc:sldMk cId="2479977582" sldId="2147473493"/>
            <ac:spMk id="79" creationId="{00000000-0000-0000-0000-000000000000}"/>
          </ac:spMkLst>
        </pc:spChg>
        <pc:spChg chg="del">
          <ac:chgData name="Tường SKHĐT" userId="ab9568c39a88b08a" providerId="LiveId" clId="{583D029E-5C15-4FB2-A6DE-F906E35414C7}" dt="2023-01-04T09:56:10.488" v="102" actId="21"/>
          <ac:spMkLst>
            <pc:docMk/>
            <pc:sldMk cId="2479977582" sldId="2147473493"/>
            <ac:spMk id="80" creationId="{00000000-0000-0000-0000-000000000000}"/>
          </ac:spMkLst>
        </pc:spChg>
        <pc:spChg chg="del">
          <ac:chgData name="Tường SKHĐT" userId="ab9568c39a88b08a" providerId="LiveId" clId="{583D029E-5C15-4FB2-A6DE-F906E35414C7}" dt="2023-01-04T09:56:00.194" v="99" actId="21"/>
          <ac:spMkLst>
            <pc:docMk/>
            <pc:sldMk cId="2479977582" sldId="2147473493"/>
            <ac:spMk id="81" creationId="{00000000-0000-0000-0000-000000000000}"/>
          </ac:spMkLst>
        </pc:spChg>
        <pc:spChg chg="del">
          <ac:chgData name="Tường SKHĐT" userId="ab9568c39a88b08a" providerId="LiveId" clId="{583D029E-5C15-4FB2-A6DE-F906E35414C7}" dt="2023-01-04T09:56:05.801" v="100" actId="21"/>
          <ac:spMkLst>
            <pc:docMk/>
            <pc:sldMk cId="2479977582" sldId="2147473493"/>
            <ac:spMk id="83" creationId="{00000000-0000-0000-0000-000000000000}"/>
          </ac:spMkLst>
        </pc:spChg>
        <pc:spChg chg="del">
          <ac:chgData name="Tường SKHĐT" userId="ab9568c39a88b08a" providerId="LiveId" clId="{583D029E-5C15-4FB2-A6DE-F906E35414C7}" dt="2023-01-04T09:56:05.801" v="100" actId="21"/>
          <ac:spMkLst>
            <pc:docMk/>
            <pc:sldMk cId="2479977582" sldId="2147473493"/>
            <ac:spMk id="84" creationId="{00000000-0000-0000-0000-000000000000}"/>
          </ac:spMkLst>
        </pc:spChg>
        <pc:grpChg chg="del">
          <ac:chgData name="Tường SKHĐT" userId="ab9568c39a88b08a" providerId="LiveId" clId="{583D029E-5C15-4FB2-A6DE-F906E35414C7}" dt="2023-01-04T09:56:00.194" v="99" actId="21"/>
          <ac:grpSpMkLst>
            <pc:docMk/>
            <pc:sldMk cId="2479977582" sldId="2147473493"/>
            <ac:grpSpMk id="66" creationId="{00000000-0000-0000-0000-000000000000}"/>
          </ac:grpSpMkLst>
        </pc:grpChg>
        <pc:graphicFrameChg chg="add mod modGraphic">
          <ac:chgData name="Tường SKHĐT" userId="ab9568c39a88b08a" providerId="LiveId" clId="{583D029E-5C15-4FB2-A6DE-F906E35414C7}" dt="2023-01-04T10:03:47.638" v="364"/>
          <ac:graphicFrameMkLst>
            <pc:docMk/>
            <pc:sldMk cId="2479977582" sldId="2147473493"/>
            <ac:graphicFrameMk id="3" creationId="{E89A0590-BB61-E2EC-6BC9-07C5BC7029DC}"/>
          </ac:graphicFrameMkLst>
        </pc:graphicFrameChg>
      </pc:sldChg>
      <pc:sldChg chg="delSp modSp add mod">
        <pc:chgData name="Tường SKHĐT" userId="ab9568c39a88b08a" providerId="LiveId" clId="{583D029E-5C15-4FB2-A6DE-F906E35414C7}" dt="2023-01-04T10:13:30.549" v="781" actId="1076"/>
        <pc:sldMkLst>
          <pc:docMk/>
          <pc:sldMk cId="611726690" sldId="2147473494"/>
        </pc:sldMkLst>
        <pc:spChg chg="mod">
          <ac:chgData name="Tường SKHĐT" userId="ab9568c39a88b08a" providerId="LiveId" clId="{583D029E-5C15-4FB2-A6DE-F906E35414C7}" dt="2023-01-04T10:13:30.549" v="781" actId="1076"/>
          <ac:spMkLst>
            <pc:docMk/>
            <pc:sldMk cId="611726690" sldId="2147473494"/>
            <ac:spMk id="2" creationId="{5B782834-0385-35AC-5CF8-75244DDDF21A}"/>
          </ac:spMkLst>
        </pc:spChg>
        <pc:spChg chg="mod">
          <ac:chgData name="Tường SKHĐT" userId="ab9568c39a88b08a" providerId="LiveId" clId="{583D029E-5C15-4FB2-A6DE-F906E35414C7}" dt="2023-01-04T10:06:48.343" v="543" actId="20577"/>
          <ac:spMkLst>
            <pc:docMk/>
            <pc:sldMk cId="611726690" sldId="2147473494"/>
            <ac:spMk id="4" creationId="{16D24723-A233-03FF-2329-1817AB93339D}"/>
          </ac:spMkLst>
        </pc:spChg>
        <pc:spChg chg="del">
          <ac:chgData name="Tường SKHĐT" userId="ab9568c39a88b08a" providerId="LiveId" clId="{583D029E-5C15-4FB2-A6DE-F906E35414C7}" dt="2023-01-04T10:06:58.192" v="544" actId="21"/>
          <ac:spMkLst>
            <pc:docMk/>
            <pc:sldMk cId="611726690" sldId="2147473494"/>
            <ac:spMk id="5" creationId="{0388789B-20AA-F452-A414-510610E437A9}"/>
          </ac:spMkLst>
        </pc:spChg>
        <pc:spChg chg="mod">
          <ac:chgData name="Tường SKHĐT" userId="ab9568c39a88b08a" providerId="LiveId" clId="{583D029E-5C15-4FB2-A6DE-F906E35414C7}" dt="2023-01-04T10:13:30.549" v="781" actId="1076"/>
          <ac:spMkLst>
            <pc:docMk/>
            <pc:sldMk cId="611726690" sldId="2147473494"/>
            <ac:spMk id="43" creationId="{00000000-0000-0000-0000-000000000000}"/>
          </ac:spMkLst>
        </pc:spChg>
        <pc:spChg chg="mod">
          <ac:chgData name="Tường SKHĐT" userId="ab9568c39a88b08a" providerId="LiveId" clId="{583D029E-5C15-4FB2-A6DE-F906E35414C7}" dt="2023-01-04T10:07:06.457" v="578" actId="1035"/>
          <ac:spMkLst>
            <pc:docMk/>
            <pc:sldMk cId="611726690" sldId="2147473494"/>
            <ac:spMk id="45" creationId="{00000000-0000-0000-0000-000000000000}"/>
          </ac:spMkLst>
        </pc:spChg>
        <pc:spChg chg="mod">
          <ac:chgData name="Tường SKHĐT" userId="ab9568c39a88b08a" providerId="LiveId" clId="{583D029E-5C15-4FB2-A6DE-F906E35414C7}" dt="2023-01-04T10:07:06.457" v="578" actId="1035"/>
          <ac:spMkLst>
            <pc:docMk/>
            <pc:sldMk cId="611726690" sldId="2147473494"/>
            <ac:spMk id="46" creationId="{00000000-0000-0000-0000-000000000000}"/>
          </ac:spMkLst>
        </pc:spChg>
        <pc:spChg chg="mod">
          <ac:chgData name="Tường SKHĐT" userId="ab9568c39a88b08a" providerId="LiveId" clId="{583D029E-5C15-4FB2-A6DE-F906E35414C7}" dt="2023-01-04T10:07:06.457" v="578" actId="1035"/>
          <ac:spMkLst>
            <pc:docMk/>
            <pc:sldMk cId="611726690" sldId="2147473494"/>
            <ac:spMk id="48" creationId="{00000000-0000-0000-0000-000000000000}"/>
          </ac:spMkLst>
        </pc:spChg>
        <pc:spChg chg="mod">
          <ac:chgData name="Tường SKHĐT" userId="ab9568c39a88b08a" providerId="LiveId" clId="{583D029E-5C15-4FB2-A6DE-F906E35414C7}" dt="2023-01-04T10:12:09.864" v="742" actId="1076"/>
          <ac:spMkLst>
            <pc:docMk/>
            <pc:sldMk cId="611726690" sldId="2147473494"/>
            <ac:spMk id="50" creationId="{00000000-0000-0000-0000-000000000000}"/>
          </ac:spMkLst>
        </pc:spChg>
        <pc:spChg chg="mod">
          <ac:chgData name="Tường SKHĐT" userId="ab9568c39a88b08a" providerId="LiveId" clId="{583D029E-5C15-4FB2-A6DE-F906E35414C7}" dt="2023-01-04T10:11:37.493" v="735" actId="1076"/>
          <ac:spMkLst>
            <pc:docMk/>
            <pc:sldMk cId="611726690" sldId="2147473494"/>
            <ac:spMk id="52" creationId="{00000000-0000-0000-0000-000000000000}"/>
          </ac:spMkLst>
        </pc:spChg>
        <pc:spChg chg="mod">
          <ac:chgData name="Tường SKHĐT" userId="ab9568c39a88b08a" providerId="LiveId" clId="{583D029E-5C15-4FB2-A6DE-F906E35414C7}" dt="2023-01-04T10:07:06.457" v="578" actId="1035"/>
          <ac:spMkLst>
            <pc:docMk/>
            <pc:sldMk cId="611726690" sldId="2147473494"/>
            <ac:spMk id="57" creationId="{00000000-0000-0000-0000-000000000000}"/>
          </ac:spMkLst>
        </pc:spChg>
        <pc:spChg chg="mod">
          <ac:chgData name="Tường SKHĐT" userId="ab9568c39a88b08a" providerId="LiveId" clId="{583D029E-5C15-4FB2-A6DE-F906E35414C7}" dt="2023-01-04T10:12:09.864" v="742" actId="1076"/>
          <ac:spMkLst>
            <pc:docMk/>
            <pc:sldMk cId="611726690" sldId="2147473494"/>
            <ac:spMk id="60" creationId="{00000000-0000-0000-0000-000000000000}"/>
          </ac:spMkLst>
        </pc:spChg>
        <pc:spChg chg="mod">
          <ac:chgData name="Tường SKHĐT" userId="ab9568c39a88b08a" providerId="LiveId" clId="{583D029E-5C15-4FB2-A6DE-F906E35414C7}" dt="2023-01-04T10:11:46.430" v="738" actId="1076"/>
          <ac:spMkLst>
            <pc:docMk/>
            <pc:sldMk cId="611726690" sldId="2147473494"/>
            <ac:spMk id="70" creationId="{00000000-0000-0000-0000-000000000000}"/>
          </ac:spMkLst>
        </pc:spChg>
        <pc:grpChg chg="mod">
          <ac:chgData name="Tường SKHĐT" userId="ab9568c39a88b08a" providerId="LiveId" clId="{583D029E-5C15-4FB2-A6DE-F906E35414C7}" dt="2023-01-04T10:07:06.457" v="578" actId="1035"/>
          <ac:grpSpMkLst>
            <pc:docMk/>
            <pc:sldMk cId="611726690" sldId="2147473494"/>
            <ac:grpSpMk id="44" creationId="{00000000-0000-0000-0000-000000000000}"/>
          </ac:grpSpMkLst>
        </pc:grpChg>
        <pc:cxnChg chg="mod">
          <ac:chgData name="Tường SKHĐT" userId="ab9568c39a88b08a" providerId="LiveId" clId="{583D029E-5C15-4FB2-A6DE-F906E35414C7}" dt="2023-01-04T10:12:14.899" v="743" actId="14100"/>
          <ac:cxnSpMkLst>
            <pc:docMk/>
            <pc:sldMk cId="611726690" sldId="2147473494"/>
            <ac:cxnSpMk id="6" creationId="{FF705920-E1B4-B4D0-9EA4-A27AA5761577}"/>
          </ac:cxnSpMkLst>
        </pc:cxnChg>
      </pc:sldChg>
      <pc:sldChg chg="modSp mod">
        <pc:chgData name="Tường SKHĐT" userId="ab9568c39a88b08a" providerId="LiveId" clId="{583D029E-5C15-4FB2-A6DE-F906E35414C7}" dt="2023-01-05T09:26:19.342" v="1283" actId="14100"/>
        <pc:sldMkLst>
          <pc:docMk/>
          <pc:sldMk cId="517205925" sldId="2147473498"/>
        </pc:sldMkLst>
        <pc:spChg chg="mod">
          <ac:chgData name="Tường SKHĐT" userId="ab9568c39a88b08a" providerId="LiveId" clId="{583D029E-5C15-4FB2-A6DE-F906E35414C7}" dt="2023-01-05T09:26:15.674" v="1282" actId="14100"/>
          <ac:spMkLst>
            <pc:docMk/>
            <pc:sldMk cId="517205925" sldId="2147473498"/>
            <ac:spMk id="4" creationId="{16D24723-A233-03FF-2329-1817AB93339D}"/>
          </ac:spMkLst>
        </pc:spChg>
        <pc:cxnChg chg="mod">
          <ac:chgData name="Tường SKHĐT" userId="ab9568c39a88b08a" providerId="LiveId" clId="{583D029E-5C15-4FB2-A6DE-F906E35414C7}" dt="2023-01-05T09:26:19.342" v="1283" actId="14100"/>
          <ac:cxnSpMkLst>
            <pc:docMk/>
            <pc:sldMk cId="517205925" sldId="2147473498"/>
            <ac:cxnSpMk id="6" creationId="{FF705920-E1B4-B4D0-9EA4-A27AA5761577}"/>
          </ac:cxnSpMkLst>
        </pc:cxnChg>
      </pc:sldChg>
      <pc:sldChg chg="modSp mod">
        <pc:chgData name="Tường SKHĐT" userId="ab9568c39a88b08a" providerId="LiveId" clId="{583D029E-5C15-4FB2-A6DE-F906E35414C7}" dt="2023-01-05T09:26:34.784" v="1311" actId="14100"/>
        <pc:sldMkLst>
          <pc:docMk/>
          <pc:sldMk cId="4071845434" sldId="2147473499"/>
        </pc:sldMkLst>
        <pc:spChg chg="mod">
          <ac:chgData name="Tường SKHĐT" userId="ab9568c39a88b08a" providerId="LiveId" clId="{583D029E-5C15-4FB2-A6DE-F906E35414C7}" dt="2023-01-05T09:26:32.364" v="1310" actId="14100"/>
          <ac:spMkLst>
            <pc:docMk/>
            <pc:sldMk cId="4071845434" sldId="2147473499"/>
            <ac:spMk id="4" creationId="{16D24723-A233-03FF-2329-1817AB93339D}"/>
          </ac:spMkLst>
        </pc:spChg>
        <pc:cxnChg chg="mod">
          <ac:chgData name="Tường SKHĐT" userId="ab9568c39a88b08a" providerId="LiveId" clId="{583D029E-5C15-4FB2-A6DE-F906E35414C7}" dt="2023-01-05T09:26:34.784" v="1311" actId="14100"/>
          <ac:cxnSpMkLst>
            <pc:docMk/>
            <pc:sldMk cId="4071845434" sldId="2147473499"/>
            <ac:cxnSpMk id="6" creationId="{FF705920-E1B4-B4D0-9EA4-A27AA5761577}"/>
          </ac:cxnSpMkLst>
        </pc:cxnChg>
      </pc:sldChg>
      <pc:sldChg chg="modSp mod">
        <pc:chgData name="Tường SKHĐT" userId="ab9568c39a88b08a" providerId="LiveId" clId="{583D029E-5C15-4FB2-A6DE-F906E35414C7}" dt="2023-01-05T09:26:49.644" v="1341" actId="14100"/>
        <pc:sldMkLst>
          <pc:docMk/>
          <pc:sldMk cId="3215727463" sldId="2147473500"/>
        </pc:sldMkLst>
        <pc:spChg chg="mod">
          <ac:chgData name="Tường SKHĐT" userId="ab9568c39a88b08a" providerId="LiveId" clId="{583D029E-5C15-4FB2-A6DE-F906E35414C7}" dt="2023-01-05T09:26:46.070" v="1340" actId="14100"/>
          <ac:spMkLst>
            <pc:docMk/>
            <pc:sldMk cId="3215727463" sldId="2147473500"/>
            <ac:spMk id="4" creationId="{16D24723-A233-03FF-2329-1817AB93339D}"/>
          </ac:spMkLst>
        </pc:spChg>
        <pc:graphicFrameChg chg="mod">
          <ac:chgData name="Tường SKHĐT" userId="ab9568c39a88b08a" providerId="LiveId" clId="{583D029E-5C15-4FB2-A6DE-F906E35414C7}" dt="2023-01-05T09:24:25.849" v="1233" actId="20577"/>
          <ac:graphicFrameMkLst>
            <pc:docMk/>
            <pc:sldMk cId="3215727463" sldId="2147473500"/>
            <ac:graphicFrameMk id="16" creationId="{F09E3A7B-07B6-CA30-1478-0A37F48EB298}"/>
          </ac:graphicFrameMkLst>
        </pc:graphicFrameChg>
        <pc:cxnChg chg="mod">
          <ac:chgData name="Tường SKHĐT" userId="ab9568c39a88b08a" providerId="LiveId" clId="{583D029E-5C15-4FB2-A6DE-F906E35414C7}" dt="2023-01-05T09:26:49.644" v="1341" actId="14100"/>
          <ac:cxnSpMkLst>
            <pc:docMk/>
            <pc:sldMk cId="3215727463" sldId="2147473500"/>
            <ac:cxnSpMk id="6" creationId="{FF705920-E1B4-B4D0-9EA4-A27AA5761577}"/>
          </ac:cxnSpMkLst>
        </pc:cxnChg>
      </pc:sldChg>
      <pc:sldChg chg="modSp mod">
        <pc:chgData name="Tường SKHĐT" userId="ab9568c39a88b08a" providerId="LiveId" clId="{583D029E-5C15-4FB2-A6DE-F906E35414C7}" dt="2023-01-05T09:27:01.833" v="1369" actId="14100"/>
        <pc:sldMkLst>
          <pc:docMk/>
          <pc:sldMk cId="1680809982" sldId="2147473501"/>
        </pc:sldMkLst>
        <pc:spChg chg="mod">
          <ac:chgData name="Tường SKHĐT" userId="ab9568c39a88b08a" providerId="LiveId" clId="{583D029E-5C15-4FB2-A6DE-F906E35414C7}" dt="2023-01-05T09:26:57.952" v="1368" actId="14100"/>
          <ac:spMkLst>
            <pc:docMk/>
            <pc:sldMk cId="1680809982" sldId="2147473501"/>
            <ac:spMk id="4" creationId="{16D24723-A233-03FF-2329-1817AB93339D}"/>
          </ac:spMkLst>
        </pc:spChg>
        <pc:cxnChg chg="mod">
          <ac:chgData name="Tường SKHĐT" userId="ab9568c39a88b08a" providerId="LiveId" clId="{583D029E-5C15-4FB2-A6DE-F906E35414C7}" dt="2023-01-05T09:27:01.833" v="1369" actId="14100"/>
          <ac:cxnSpMkLst>
            <pc:docMk/>
            <pc:sldMk cId="1680809982" sldId="2147473501"/>
            <ac:cxnSpMk id="6" creationId="{FF705920-E1B4-B4D0-9EA4-A27AA5761577}"/>
          </ac:cxnSpMkLst>
        </pc:cxnChg>
      </pc:sldChg>
      <pc:sldChg chg="modSp mod">
        <pc:chgData name="Tường SKHĐT" userId="ab9568c39a88b08a" providerId="LiveId" clId="{583D029E-5C15-4FB2-A6DE-F906E35414C7}" dt="2023-01-05T09:28:29.900" v="1501" actId="14100"/>
        <pc:sldMkLst>
          <pc:docMk/>
          <pc:sldMk cId="1302223711" sldId="2147473504"/>
        </pc:sldMkLst>
        <pc:spChg chg="mod">
          <ac:chgData name="Tường SKHĐT" userId="ab9568c39a88b08a" providerId="LiveId" clId="{583D029E-5C15-4FB2-A6DE-F906E35414C7}" dt="2023-01-05T09:28:26.514" v="1500" actId="14100"/>
          <ac:spMkLst>
            <pc:docMk/>
            <pc:sldMk cId="1302223711" sldId="2147473504"/>
            <ac:spMk id="4" creationId="{16D24723-A233-03FF-2329-1817AB93339D}"/>
          </ac:spMkLst>
        </pc:spChg>
        <pc:cxnChg chg="mod">
          <ac:chgData name="Tường SKHĐT" userId="ab9568c39a88b08a" providerId="LiveId" clId="{583D029E-5C15-4FB2-A6DE-F906E35414C7}" dt="2023-01-05T09:28:29.900" v="1501" actId="14100"/>
          <ac:cxnSpMkLst>
            <pc:docMk/>
            <pc:sldMk cId="1302223711" sldId="2147473504"/>
            <ac:cxnSpMk id="6" creationId="{FF705920-E1B4-B4D0-9EA4-A27AA5761577}"/>
          </ac:cxnSpMkLst>
        </pc:cxnChg>
      </pc:sldChg>
      <pc:sldChg chg="modSp mod">
        <pc:chgData name="Tường SKHĐT" userId="ab9568c39a88b08a" providerId="LiveId" clId="{583D029E-5C15-4FB2-A6DE-F906E35414C7}" dt="2023-01-05T09:27:58.910" v="1439" actId="14100"/>
        <pc:sldMkLst>
          <pc:docMk/>
          <pc:sldMk cId="1098375856" sldId="2147473511"/>
        </pc:sldMkLst>
        <pc:spChg chg="mod">
          <ac:chgData name="Tường SKHĐT" userId="ab9568c39a88b08a" providerId="LiveId" clId="{583D029E-5C15-4FB2-A6DE-F906E35414C7}" dt="2023-01-05T09:27:55.776" v="1438" actId="14100"/>
          <ac:spMkLst>
            <pc:docMk/>
            <pc:sldMk cId="1098375856" sldId="2147473511"/>
            <ac:spMk id="4" creationId="{16D24723-A233-03FF-2329-1817AB93339D}"/>
          </ac:spMkLst>
        </pc:spChg>
        <pc:cxnChg chg="mod">
          <ac:chgData name="Tường SKHĐT" userId="ab9568c39a88b08a" providerId="LiveId" clId="{583D029E-5C15-4FB2-A6DE-F906E35414C7}" dt="2023-01-05T09:27:58.910" v="1439" actId="14100"/>
          <ac:cxnSpMkLst>
            <pc:docMk/>
            <pc:sldMk cId="1098375856" sldId="2147473511"/>
            <ac:cxnSpMk id="6" creationId="{FF705920-E1B4-B4D0-9EA4-A27AA5761577}"/>
          </ac:cxnSpMkLst>
        </pc:cxnChg>
      </pc:sldChg>
      <pc:sldChg chg="addSp delSp modSp mod">
        <pc:chgData name="Tường SKHĐT" userId="ab9568c39a88b08a" providerId="LiveId" clId="{583D029E-5C15-4FB2-A6DE-F906E35414C7}" dt="2023-01-05T09:28:16.132" v="1467" actId="14100"/>
        <pc:sldMkLst>
          <pc:docMk/>
          <pc:sldMk cId="3883905374" sldId="2147473512"/>
        </pc:sldMkLst>
        <pc:spChg chg="mod">
          <ac:chgData name="Tường SKHĐT" userId="ab9568c39a88b08a" providerId="LiveId" clId="{583D029E-5C15-4FB2-A6DE-F906E35414C7}" dt="2023-01-05T09:28:08.734" v="1466" actId="14100"/>
          <ac:spMkLst>
            <pc:docMk/>
            <pc:sldMk cId="3883905374" sldId="2147473512"/>
            <ac:spMk id="4" creationId="{16D24723-A233-03FF-2329-1817AB93339D}"/>
          </ac:spMkLst>
        </pc:spChg>
        <pc:picChg chg="mod">
          <ac:chgData name="Tường SKHĐT" userId="ab9568c39a88b08a" providerId="LiveId" clId="{583D029E-5C15-4FB2-A6DE-F906E35414C7}" dt="2023-01-05T09:00:37.139" v="989" actId="1076"/>
          <ac:picMkLst>
            <pc:docMk/>
            <pc:sldMk cId="3883905374" sldId="2147473512"/>
            <ac:picMk id="3" creationId="{DD9175C4-E122-5875-17D7-03639C1ACB2B}"/>
          </ac:picMkLst>
        </pc:picChg>
        <pc:picChg chg="del">
          <ac:chgData name="Tường SKHĐT" userId="ab9568c39a88b08a" providerId="LiveId" clId="{583D029E-5C15-4FB2-A6DE-F906E35414C7}" dt="2023-01-05T08:59:54.692" v="981" actId="21"/>
          <ac:picMkLst>
            <pc:docMk/>
            <pc:sldMk cId="3883905374" sldId="2147473512"/>
            <ac:picMk id="5" creationId="{527C9105-D4C6-2A64-50F4-4AE13D60F2A1}"/>
          </ac:picMkLst>
        </pc:picChg>
        <pc:picChg chg="add mod">
          <ac:chgData name="Tường SKHĐT" userId="ab9568c39a88b08a" providerId="LiveId" clId="{583D029E-5C15-4FB2-A6DE-F906E35414C7}" dt="2023-01-05T09:00:31.749" v="988" actId="1076"/>
          <ac:picMkLst>
            <pc:docMk/>
            <pc:sldMk cId="3883905374" sldId="2147473512"/>
            <ac:picMk id="8" creationId="{67FFF0AD-2B2B-098C-EA0B-72365E44493E}"/>
          </ac:picMkLst>
        </pc:picChg>
        <pc:cxnChg chg="mod">
          <ac:chgData name="Tường SKHĐT" userId="ab9568c39a88b08a" providerId="LiveId" clId="{583D029E-5C15-4FB2-A6DE-F906E35414C7}" dt="2023-01-05T09:28:16.132" v="1467" actId="14100"/>
          <ac:cxnSpMkLst>
            <pc:docMk/>
            <pc:sldMk cId="3883905374" sldId="2147473512"/>
            <ac:cxnSpMk id="6" creationId="{FF705920-E1B4-B4D0-9EA4-A27AA5761577}"/>
          </ac:cxnSpMkLst>
        </pc:cxnChg>
      </pc:sldChg>
      <pc:sldChg chg="modSp mod">
        <pc:chgData name="Tường SKHĐT" userId="ab9568c39a88b08a" providerId="LiveId" clId="{583D029E-5C15-4FB2-A6DE-F906E35414C7}" dt="2023-01-05T09:16:45.140" v="1216" actId="20577"/>
        <pc:sldMkLst>
          <pc:docMk/>
          <pc:sldMk cId="3554211324" sldId="2147473513"/>
        </pc:sldMkLst>
        <pc:spChg chg="mod">
          <ac:chgData name="Tường SKHĐT" userId="ab9568c39a88b08a" providerId="LiveId" clId="{583D029E-5C15-4FB2-A6DE-F906E35414C7}" dt="2023-01-05T09:13:20.797" v="1050" actId="1036"/>
          <ac:spMkLst>
            <pc:docMk/>
            <pc:sldMk cId="3554211324" sldId="2147473513"/>
            <ac:spMk id="18" creationId="{21245A2C-03CB-6DE8-D086-6E728FD99907}"/>
          </ac:spMkLst>
        </pc:spChg>
        <pc:spChg chg="mod">
          <ac:chgData name="Tường SKHĐT" userId="ab9568c39a88b08a" providerId="LiveId" clId="{583D029E-5C15-4FB2-A6DE-F906E35414C7}" dt="2023-01-05T09:14:22.569" v="1131" actId="6549"/>
          <ac:spMkLst>
            <pc:docMk/>
            <pc:sldMk cId="3554211324" sldId="2147473513"/>
            <ac:spMk id="32" creationId="{5F5AB2AB-C6F7-20F0-B98F-DFD31A693985}"/>
          </ac:spMkLst>
        </pc:spChg>
        <pc:spChg chg="mod">
          <ac:chgData name="Tường SKHĐT" userId="ab9568c39a88b08a" providerId="LiveId" clId="{583D029E-5C15-4FB2-A6DE-F906E35414C7}" dt="2023-01-05T09:16:45.140" v="1216" actId="20577"/>
          <ac:spMkLst>
            <pc:docMk/>
            <pc:sldMk cId="3554211324" sldId="2147473513"/>
            <ac:spMk id="41" creationId="{58A27EB2-CD96-EAE0-712E-B29BA01F0FF2}"/>
          </ac:spMkLst>
        </pc:spChg>
        <pc:cxnChg chg="mod">
          <ac:chgData name="Tường SKHĐT" userId="ab9568c39a88b08a" providerId="LiveId" clId="{583D029E-5C15-4FB2-A6DE-F906E35414C7}" dt="2023-01-05T09:13:23.424" v="1055" actId="1036"/>
          <ac:cxnSpMkLst>
            <pc:docMk/>
            <pc:sldMk cId="3554211324" sldId="2147473513"/>
            <ac:cxnSpMk id="23" creationId="{892F6A17-4112-5F31-C56A-9B185E710C59}"/>
          </ac:cxnSpMkLst>
        </pc:cxnChg>
      </pc:sldChg>
    </pc:docChg>
  </pc:docChgLst>
  <pc:docChgLst>
    <pc:chgData name="Tường SKHĐT" userId="ab9568c39a88b08a" providerId="LiveId" clId="{2EBC6E85-2441-4376-9BAA-F39AFD05678E}"/>
    <pc:docChg chg="modSld">
      <pc:chgData name="Tường SKHĐT" userId="ab9568c39a88b08a" providerId="LiveId" clId="{2EBC6E85-2441-4376-9BAA-F39AFD05678E}" dt="2022-11-22T08:38:05.244" v="8" actId="20577"/>
      <pc:docMkLst>
        <pc:docMk/>
      </pc:docMkLst>
      <pc:sldChg chg="modSp mod">
        <pc:chgData name="Tường SKHĐT" userId="ab9568c39a88b08a" providerId="LiveId" clId="{2EBC6E85-2441-4376-9BAA-F39AFD05678E}" dt="2022-11-22T08:38:05.244" v="8" actId="20577"/>
        <pc:sldMkLst>
          <pc:docMk/>
          <pc:sldMk cId="1770736918" sldId="413"/>
        </pc:sldMkLst>
        <pc:spChg chg="mod">
          <ac:chgData name="Tường SKHĐT" userId="ab9568c39a88b08a" providerId="LiveId" clId="{2EBC6E85-2441-4376-9BAA-F39AFD05678E}" dt="2022-11-22T08:38:05.244" v="8" actId="20577"/>
          <ac:spMkLst>
            <pc:docMk/>
            <pc:sldMk cId="1770736918" sldId="413"/>
            <ac:spMk id="12" creationId="{5A3DCAC9-C389-CD84-3C84-E7EC9803EA7C}"/>
          </ac:spMkLst>
        </pc:spChg>
      </pc:sldChg>
    </pc:docChg>
  </pc:docChgLst>
  <pc:docChgLst>
    <pc:chgData name="Tường SKHĐT" userId="ab9568c39a88b08a" providerId="LiveId" clId="{D0D0D6DB-4B24-4E2C-A5FA-2AD6DFFBD362}"/>
    <pc:docChg chg="undo custSel addSld delSld modSld">
      <pc:chgData name="Tường SKHĐT" userId="ab9568c39a88b08a" providerId="LiveId" clId="{D0D0D6DB-4B24-4E2C-A5FA-2AD6DFFBD362}" dt="2023-01-30T04:29:29.876" v="4556" actId="20577"/>
      <pc:docMkLst>
        <pc:docMk/>
      </pc:docMkLst>
      <pc:sldChg chg="add del">
        <pc:chgData name="Tường SKHĐT" userId="ab9568c39a88b08a" providerId="LiveId" clId="{D0D0D6DB-4B24-4E2C-A5FA-2AD6DFFBD362}" dt="2023-01-30T04:01:08.165" v="3131" actId="2696"/>
        <pc:sldMkLst>
          <pc:docMk/>
          <pc:sldMk cId="0" sldId="261"/>
        </pc:sldMkLst>
      </pc:sldChg>
      <pc:sldChg chg="add del">
        <pc:chgData name="Tường SKHĐT" userId="ab9568c39a88b08a" providerId="LiveId" clId="{D0D0D6DB-4B24-4E2C-A5FA-2AD6DFFBD362}" dt="2023-01-30T03:16:35.049" v="1906" actId="2696"/>
        <pc:sldMkLst>
          <pc:docMk/>
          <pc:sldMk cId="0" sldId="263"/>
        </pc:sldMkLst>
      </pc:sldChg>
      <pc:sldChg chg="add del">
        <pc:chgData name="Tường SKHĐT" userId="ab9568c39a88b08a" providerId="LiveId" clId="{D0D0D6DB-4B24-4E2C-A5FA-2AD6DFFBD362}" dt="2023-01-30T03:03:44.933" v="1243" actId="2696"/>
        <pc:sldMkLst>
          <pc:docMk/>
          <pc:sldMk cId="2934248644" sldId="276"/>
        </pc:sldMkLst>
      </pc:sldChg>
      <pc:sldChg chg="add del">
        <pc:chgData name="Tường SKHĐT" userId="ab9568c39a88b08a" providerId="LiveId" clId="{D0D0D6DB-4B24-4E2C-A5FA-2AD6DFFBD362}" dt="2023-01-30T04:16:37.355" v="3921" actId="2696"/>
        <pc:sldMkLst>
          <pc:docMk/>
          <pc:sldMk cId="3305523253" sldId="405"/>
        </pc:sldMkLst>
      </pc:sldChg>
      <pc:sldChg chg="modSp add del mod">
        <pc:chgData name="Tường SKHĐT" userId="ab9568c39a88b08a" providerId="LiveId" clId="{D0D0D6DB-4B24-4E2C-A5FA-2AD6DFFBD362}" dt="2023-01-30T03:12:21.416" v="1805" actId="2696"/>
        <pc:sldMkLst>
          <pc:docMk/>
          <pc:sldMk cId="2024374373" sldId="434"/>
        </pc:sldMkLst>
        <pc:spChg chg="mod">
          <ac:chgData name="Tường SKHĐT" userId="ab9568c39a88b08a" providerId="LiveId" clId="{D0D0D6DB-4B24-4E2C-A5FA-2AD6DFFBD362}" dt="2023-01-30T02:57:35.464" v="1101" actId="20577"/>
          <ac:spMkLst>
            <pc:docMk/>
            <pc:sldMk cId="2024374373" sldId="434"/>
            <ac:spMk id="2" creationId="{00000000-0000-0000-0000-000000000000}"/>
          </ac:spMkLst>
        </pc:spChg>
        <pc:spChg chg="mod">
          <ac:chgData name="Tường SKHĐT" userId="ab9568c39a88b08a" providerId="LiveId" clId="{D0D0D6DB-4B24-4E2C-A5FA-2AD6DFFBD362}" dt="2023-01-30T02:58:32.360" v="1108" actId="20577"/>
          <ac:spMkLst>
            <pc:docMk/>
            <pc:sldMk cId="2024374373" sldId="434"/>
            <ac:spMk id="4" creationId="{00000000-0000-0000-0000-000000000000}"/>
          </ac:spMkLst>
        </pc:spChg>
        <pc:spChg chg="mod">
          <ac:chgData name="Tường SKHĐT" userId="ab9568c39a88b08a" providerId="LiveId" clId="{D0D0D6DB-4B24-4E2C-A5FA-2AD6DFFBD362}" dt="2023-01-30T02:58:49.529" v="1123" actId="20577"/>
          <ac:spMkLst>
            <pc:docMk/>
            <pc:sldMk cId="2024374373" sldId="434"/>
            <ac:spMk id="15" creationId="{00000000-0000-0000-0000-000000000000}"/>
          </ac:spMkLst>
        </pc:spChg>
        <pc:spChg chg="mod">
          <ac:chgData name="Tường SKHĐT" userId="ab9568c39a88b08a" providerId="LiveId" clId="{D0D0D6DB-4B24-4E2C-A5FA-2AD6DFFBD362}" dt="2023-01-30T02:58:57.992" v="1132" actId="20577"/>
          <ac:spMkLst>
            <pc:docMk/>
            <pc:sldMk cId="2024374373" sldId="434"/>
            <ac:spMk id="16" creationId="{00000000-0000-0000-0000-000000000000}"/>
          </ac:spMkLst>
        </pc:spChg>
        <pc:spChg chg="mod">
          <ac:chgData name="Tường SKHĐT" userId="ab9568c39a88b08a" providerId="LiveId" clId="{D0D0D6DB-4B24-4E2C-A5FA-2AD6DFFBD362}" dt="2023-01-30T02:58:42.588" v="1117" actId="20577"/>
          <ac:spMkLst>
            <pc:docMk/>
            <pc:sldMk cId="2024374373" sldId="434"/>
            <ac:spMk id="17" creationId="{00000000-0000-0000-0000-000000000000}"/>
          </ac:spMkLst>
        </pc:spChg>
        <pc:spChg chg="mod">
          <ac:chgData name="Tường SKHĐT" userId="ab9568c39a88b08a" providerId="LiveId" clId="{D0D0D6DB-4B24-4E2C-A5FA-2AD6DFFBD362}" dt="2023-01-30T02:59:01.234" v="1139" actId="20577"/>
          <ac:spMkLst>
            <pc:docMk/>
            <pc:sldMk cId="2024374373" sldId="434"/>
            <ac:spMk id="18" creationId="{00000000-0000-0000-0000-000000000000}"/>
          </ac:spMkLst>
        </pc:spChg>
      </pc:sldChg>
      <pc:sldChg chg="add del">
        <pc:chgData name="Tường SKHĐT" userId="ab9568c39a88b08a" providerId="LiveId" clId="{D0D0D6DB-4B24-4E2C-A5FA-2AD6DFFBD362}" dt="2023-01-30T04:00:47.116" v="3127" actId="2696"/>
        <pc:sldMkLst>
          <pc:docMk/>
          <pc:sldMk cId="2363256103" sldId="436"/>
        </pc:sldMkLst>
      </pc:sldChg>
      <pc:sldChg chg="add del">
        <pc:chgData name="Tường SKHĐT" userId="ab9568c39a88b08a" providerId="LiveId" clId="{D0D0D6DB-4B24-4E2C-A5FA-2AD6DFFBD362}" dt="2023-01-30T04:00:57.941" v="3129" actId="2696"/>
        <pc:sldMkLst>
          <pc:docMk/>
          <pc:sldMk cId="2091478311" sldId="438"/>
        </pc:sldMkLst>
      </pc:sldChg>
      <pc:sldChg chg="modSp add del mod">
        <pc:chgData name="Tường SKHĐT" userId="ab9568c39a88b08a" providerId="LiveId" clId="{D0D0D6DB-4B24-4E2C-A5FA-2AD6DFFBD362}" dt="2023-01-30T03:12:41.257" v="1807" actId="2696"/>
        <pc:sldMkLst>
          <pc:docMk/>
          <pc:sldMk cId="421919259" sldId="439"/>
        </pc:sldMkLst>
        <pc:spChg chg="mod">
          <ac:chgData name="Tường SKHĐT" userId="ab9568c39a88b08a" providerId="LiveId" clId="{D0D0D6DB-4B24-4E2C-A5FA-2AD6DFFBD362}" dt="2023-01-30T03:02:57.373" v="1184" actId="20577"/>
          <ac:spMkLst>
            <pc:docMk/>
            <pc:sldMk cId="421919259" sldId="439"/>
            <ac:spMk id="6" creationId="{8F441EC3-0BA7-4F59-8AD1-8445D9757715}"/>
          </ac:spMkLst>
        </pc:spChg>
        <pc:spChg chg="mod">
          <ac:chgData name="Tường SKHĐT" userId="ab9568c39a88b08a" providerId="LiveId" clId="{D0D0D6DB-4B24-4E2C-A5FA-2AD6DFFBD362}" dt="2023-01-30T03:03:11.314" v="1204" actId="20577"/>
          <ac:spMkLst>
            <pc:docMk/>
            <pc:sldMk cId="421919259" sldId="439"/>
            <ac:spMk id="7" creationId="{6C0C263C-8AC5-4EA9-6623-5D53F070A466}"/>
          </ac:spMkLst>
        </pc:spChg>
        <pc:spChg chg="mod">
          <ac:chgData name="Tường SKHĐT" userId="ab9568c39a88b08a" providerId="LiveId" clId="{D0D0D6DB-4B24-4E2C-A5FA-2AD6DFFBD362}" dt="2023-01-30T03:03:24.084" v="1224" actId="20577"/>
          <ac:spMkLst>
            <pc:docMk/>
            <pc:sldMk cId="421919259" sldId="439"/>
            <ac:spMk id="8" creationId="{BE3FBCC4-B1C6-7537-0DC2-C1A9645EA02C}"/>
          </ac:spMkLst>
        </pc:spChg>
        <pc:spChg chg="mod">
          <ac:chgData name="Tường SKHĐT" userId="ab9568c39a88b08a" providerId="LiveId" clId="{D0D0D6DB-4B24-4E2C-A5FA-2AD6DFFBD362}" dt="2023-01-30T03:03:34.245" v="1242" actId="20577"/>
          <ac:spMkLst>
            <pc:docMk/>
            <pc:sldMk cId="421919259" sldId="439"/>
            <ac:spMk id="9" creationId="{BF2EF6F2-669D-669D-8EC0-42EAD0DB9009}"/>
          </ac:spMkLst>
        </pc:spChg>
        <pc:spChg chg="mod">
          <ac:chgData name="Tường SKHĐT" userId="ab9568c39a88b08a" providerId="LiveId" clId="{D0D0D6DB-4B24-4E2C-A5FA-2AD6DFFBD362}" dt="2023-01-30T03:02:45.401" v="1164" actId="20577"/>
          <ac:spMkLst>
            <pc:docMk/>
            <pc:sldMk cId="421919259" sldId="439"/>
            <ac:spMk id="20" creationId="{46499BF0-4D64-5CB9-D715-F6433918CD00}"/>
          </ac:spMkLst>
        </pc:spChg>
      </pc:sldChg>
      <pc:sldChg chg="add del">
        <pc:chgData name="Tường SKHĐT" userId="ab9568c39a88b08a" providerId="LiveId" clId="{D0D0D6DB-4B24-4E2C-A5FA-2AD6DFFBD362}" dt="2023-01-30T04:01:02.652" v="3130" actId="2696"/>
        <pc:sldMkLst>
          <pc:docMk/>
          <pc:sldMk cId="3146323479" sldId="449"/>
        </pc:sldMkLst>
      </pc:sldChg>
      <pc:sldChg chg="add del">
        <pc:chgData name="Tường SKHĐT" userId="ab9568c39a88b08a" providerId="LiveId" clId="{D0D0D6DB-4B24-4E2C-A5FA-2AD6DFFBD362}" dt="2023-01-30T04:16:40.372" v="3922" actId="2696"/>
        <pc:sldMkLst>
          <pc:docMk/>
          <pc:sldMk cId="2678120978" sldId="451"/>
        </pc:sldMkLst>
      </pc:sldChg>
      <pc:sldChg chg="modSp mod">
        <pc:chgData name="Tường SKHĐT" userId="ab9568c39a88b08a" providerId="LiveId" clId="{D0D0D6DB-4B24-4E2C-A5FA-2AD6DFFBD362}" dt="2023-01-30T02:28:48.396" v="297" actId="1038"/>
        <pc:sldMkLst>
          <pc:docMk/>
          <pc:sldMk cId="1596329165" sldId="455"/>
        </pc:sldMkLst>
        <pc:spChg chg="mod">
          <ac:chgData name="Tường SKHĐT" userId="ab9568c39a88b08a" providerId="LiveId" clId="{D0D0D6DB-4B24-4E2C-A5FA-2AD6DFFBD362}" dt="2023-01-30T02:28:26.026" v="205" actId="1076"/>
          <ac:spMkLst>
            <pc:docMk/>
            <pc:sldMk cId="1596329165" sldId="455"/>
            <ac:spMk id="7" creationId="{E508593D-8C0D-4163-9A4A-7D6922F8A0DF}"/>
          </ac:spMkLst>
        </pc:spChg>
        <pc:spChg chg="mod">
          <ac:chgData name="Tường SKHĐT" userId="ab9568c39a88b08a" providerId="LiveId" clId="{D0D0D6DB-4B24-4E2C-A5FA-2AD6DFFBD362}" dt="2023-01-30T02:28:48.396" v="297" actId="1038"/>
          <ac:spMkLst>
            <pc:docMk/>
            <pc:sldMk cId="1596329165" sldId="455"/>
            <ac:spMk id="27" creationId="{87251008-0654-48EC-B85B-8EA2BB576990}"/>
          </ac:spMkLst>
        </pc:spChg>
        <pc:grpChg chg="mod">
          <ac:chgData name="Tường SKHĐT" userId="ab9568c39a88b08a" providerId="LiveId" clId="{D0D0D6DB-4B24-4E2C-A5FA-2AD6DFFBD362}" dt="2023-01-30T02:28:13.793" v="202" actId="14100"/>
          <ac:grpSpMkLst>
            <pc:docMk/>
            <pc:sldMk cId="1596329165" sldId="455"/>
            <ac:grpSpMk id="17" creationId="{6BEB7F04-DEC3-47AD-A430-C67E8368B8AA}"/>
          </ac:grpSpMkLst>
        </pc:grpChg>
        <pc:picChg chg="mod">
          <ac:chgData name="Tường SKHĐT" userId="ab9568c39a88b08a" providerId="LiveId" clId="{D0D0D6DB-4B24-4E2C-A5FA-2AD6DFFBD362}" dt="2023-01-30T02:28:38.750" v="252" actId="1038"/>
          <ac:picMkLst>
            <pc:docMk/>
            <pc:sldMk cId="1596329165" sldId="455"/>
            <ac:picMk id="23" creationId="{AFF07513-015F-41A9-A359-F024D1A336A5}"/>
          </ac:picMkLst>
        </pc:picChg>
      </pc:sldChg>
      <pc:sldChg chg="del">
        <pc:chgData name="Tường SKHĐT" userId="ab9568c39a88b08a" providerId="LiveId" clId="{D0D0D6DB-4B24-4E2C-A5FA-2AD6DFFBD362}" dt="2023-01-30T04:17:18.043" v="3927" actId="2696"/>
        <pc:sldMkLst>
          <pc:docMk/>
          <pc:sldMk cId="1874412585" sldId="456"/>
        </pc:sldMkLst>
      </pc:sldChg>
      <pc:sldChg chg="add del">
        <pc:chgData name="Tường SKHĐT" userId="ab9568c39a88b08a" providerId="LiveId" clId="{D0D0D6DB-4B24-4E2C-A5FA-2AD6DFFBD362}" dt="2023-01-30T04:21:02.429" v="4019" actId="2696"/>
        <pc:sldMkLst>
          <pc:docMk/>
          <pc:sldMk cId="388395178" sldId="457"/>
        </pc:sldMkLst>
      </pc:sldChg>
      <pc:sldChg chg="add del">
        <pc:chgData name="Tường SKHĐT" userId="ab9568c39a88b08a" providerId="LiveId" clId="{D0D0D6DB-4B24-4E2C-A5FA-2AD6DFFBD362}" dt="2023-01-30T04:01:13.237" v="3132" actId="2696"/>
        <pc:sldMkLst>
          <pc:docMk/>
          <pc:sldMk cId="993788174" sldId="458"/>
        </pc:sldMkLst>
      </pc:sldChg>
      <pc:sldChg chg="add del">
        <pc:chgData name="Tường SKHĐT" userId="ab9568c39a88b08a" providerId="LiveId" clId="{D0D0D6DB-4B24-4E2C-A5FA-2AD6DFFBD362}" dt="2023-01-30T04:20:40.859" v="4013" actId="2696"/>
        <pc:sldMkLst>
          <pc:docMk/>
          <pc:sldMk cId="2175681301" sldId="459"/>
        </pc:sldMkLst>
      </pc:sldChg>
      <pc:sldChg chg="add del">
        <pc:chgData name="Tường SKHĐT" userId="ab9568c39a88b08a" providerId="LiveId" clId="{D0D0D6DB-4B24-4E2C-A5FA-2AD6DFFBD362}" dt="2023-01-30T03:04:12.977" v="1248" actId="2696"/>
        <pc:sldMkLst>
          <pc:docMk/>
          <pc:sldMk cId="2794925625" sldId="460"/>
        </pc:sldMkLst>
      </pc:sldChg>
      <pc:sldChg chg="add del">
        <pc:chgData name="Tường SKHĐT" userId="ab9568c39a88b08a" providerId="LiveId" clId="{D0D0D6DB-4B24-4E2C-A5FA-2AD6DFFBD362}" dt="2023-01-30T04:16:45.579" v="3924" actId="2696"/>
        <pc:sldMkLst>
          <pc:docMk/>
          <pc:sldMk cId="3281693686" sldId="462"/>
        </pc:sldMkLst>
      </pc:sldChg>
      <pc:sldChg chg="add del">
        <pc:chgData name="Tường SKHĐT" userId="ab9568c39a88b08a" providerId="LiveId" clId="{D0D0D6DB-4B24-4E2C-A5FA-2AD6DFFBD362}" dt="2023-01-30T04:16:42.979" v="3923" actId="2696"/>
        <pc:sldMkLst>
          <pc:docMk/>
          <pc:sldMk cId="1049355748" sldId="463"/>
        </pc:sldMkLst>
      </pc:sldChg>
      <pc:sldChg chg="add del">
        <pc:chgData name="Tường SKHĐT" userId="ab9568c39a88b08a" providerId="LiveId" clId="{D0D0D6DB-4B24-4E2C-A5FA-2AD6DFFBD362}" dt="2023-01-30T03:03:52.014" v="1244" actId="2696"/>
        <pc:sldMkLst>
          <pc:docMk/>
          <pc:sldMk cId="3768930459" sldId="464"/>
        </pc:sldMkLst>
      </pc:sldChg>
      <pc:sldChg chg="add del">
        <pc:chgData name="Tường SKHĐT" userId="ab9568c39a88b08a" providerId="LiveId" clId="{D0D0D6DB-4B24-4E2C-A5FA-2AD6DFFBD362}" dt="2023-01-30T04:20:34.539" v="4012" actId="2696"/>
        <pc:sldMkLst>
          <pc:docMk/>
          <pc:sldMk cId="1691974300" sldId="465"/>
        </pc:sldMkLst>
      </pc:sldChg>
      <pc:sldChg chg="add del">
        <pc:chgData name="Tường SKHĐT" userId="ab9568c39a88b08a" providerId="LiveId" clId="{D0D0D6DB-4B24-4E2C-A5FA-2AD6DFFBD362}" dt="2023-01-30T03:03:59.183" v="1246" actId="2696"/>
        <pc:sldMkLst>
          <pc:docMk/>
          <pc:sldMk cId="368970905" sldId="466"/>
        </pc:sldMkLst>
      </pc:sldChg>
      <pc:sldChg chg="add del">
        <pc:chgData name="Tường SKHĐT" userId="ab9568c39a88b08a" providerId="LiveId" clId="{D0D0D6DB-4B24-4E2C-A5FA-2AD6DFFBD362}" dt="2023-01-30T03:04:03.488" v="1247" actId="2696"/>
        <pc:sldMkLst>
          <pc:docMk/>
          <pc:sldMk cId="149062980" sldId="467"/>
        </pc:sldMkLst>
      </pc:sldChg>
      <pc:sldChg chg="add del">
        <pc:chgData name="Tường SKHĐT" userId="ab9568c39a88b08a" providerId="LiveId" clId="{D0D0D6DB-4B24-4E2C-A5FA-2AD6DFFBD362}" dt="2023-01-30T03:03:54.259" v="1245" actId="2696"/>
        <pc:sldMkLst>
          <pc:docMk/>
          <pc:sldMk cId="3916396667" sldId="471"/>
        </pc:sldMkLst>
      </pc:sldChg>
      <pc:sldChg chg="add del">
        <pc:chgData name="Tường SKHĐT" userId="ab9568c39a88b08a" providerId="LiveId" clId="{D0D0D6DB-4B24-4E2C-A5FA-2AD6DFFBD362}" dt="2023-01-30T04:16:34.647" v="3920" actId="2696"/>
        <pc:sldMkLst>
          <pc:docMk/>
          <pc:sldMk cId="592900118" sldId="480"/>
        </pc:sldMkLst>
      </pc:sldChg>
      <pc:sldChg chg="modSp add mod">
        <pc:chgData name="Tường SKHĐT" userId="ab9568c39a88b08a" providerId="LiveId" clId="{D0D0D6DB-4B24-4E2C-A5FA-2AD6DFFBD362}" dt="2023-01-30T04:29:29.876" v="4556" actId="20577"/>
        <pc:sldMkLst>
          <pc:docMk/>
          <pc:sldMk cId="348917705" sldId="482"/>
        </pc:sldMkLst>
        <pc:spChg chg="mod">
          <ac:chgData name="Tường SKHĐT" userId="ab9568c39a88b08a" providerId="LiveId" clId="{D0D0D6DB-4B24-4E2C-A5FA-2AD6DFFBD362}" dt="2023-01-30T03:08:26.924" v="1293" actId="20577"/>
          <ac:spMkLst>
            <pc:docMk/>
            <pc:sldMk cId="348917705" sldId="482"/>
            <ac:spMk id="4" creationId="{00000000-0000-0000-0000-000000000000}"/>
          </ac:spMkLst>
        </pc:spChg>
        <pc:graphicFrameChg chg="mod modGraphic">
          <ac:chgData name="Tường SKHĐT" userId="ab9568c39a88b08a" providerId="LiveId" clId="{D0D0D6DB-4B24-4E2C-A5FA-2AD6DFFBD362}" dt="2023-01-30T04:29:29.876" v="4556" actId="20577"/>
          <ac:graphicFrameMkLst>
            <pc:docMk/>
            <pc:sldMk cId="348917705" sldId="482"/>
            <ac:graphicFrameMk id="7" creationId="{44FD6820-12F5-8C73-583C-7D9F46E04367}"/>
          </ac:graphicFrameMkLst>
        </pc:graphicFrameChg>
      </pc:sldChg>
      <pc:sldChg chg="modSp add mod">
        <pc:chgData name="Tường SKHĐT" userId="ab9568c39a88b08a" providerId="LiveId" clId="{D0D0D6DB-4B24-4E2C-A5FA-2AD6DFFBD362}" dt="2023-01-30T03:08:33.364" v="1303" actId="20577"/>
        <pc:sldMkLst>
          <pc:docMk/>
          <pc:sldMk cId="4051799181" sldId="483"/>
        </pc:sldMkLst>
        <pc:spChg chg="mod">
          <ac:chgData name="Tường SKHĐT" userId="ab9568c39a88b08a" providerId="LiveId" clId="{D0D0D6DB-4B24-4E2C-A5FA-2AD6DFFBD362}" dt="2023-01-30T03:08:33.364" v="1303" actId="20577"/>
          <ac:spMkLst>
            <pc:docMk/>
            <pc:sldMk cId="4051799181" sldId="483"/>
            <ac:spMk id="4" creationId="{00000000-0000-0000-0000-000000000000}"/>
          </ac:spMkLst>
        </pc:spChg>
        <pc:graphicFrameChg chg="mod modGraphic">
          <ac:chgData name="Tường SKHĐT" userId="ab9568c39a88b08a" providerId="LiveId" clId="{D0D0D6DB-4B24-4E2C-A5FA-2AD6DFFBD362}" dt="2023-01-30T03:05:45.731" v="1262" actId="14734"/>
          <ac:graphicFrameMkLst>
            <pc:docMk/>
            <pc:sldMk cId="4051799181" sldId="483"/>
            <ac:graphicFrameMk id="2" creationId="{E76DB986-E2D7-83CD-133B-774E10731A3B}"/>
          </ac:graphicFrameMkLst>
        </pc:graphicFrameChg>
      </pc:sldChg>
      <pc:sldChg chg="modSp mod">
        <pc:chgData name="Tường SKHĐT" userId="ab9568c39a88b08a" providerId="LiveId" clId="{D0D0D6DB-4B24-4E2C-A5FA-2AD6DFFBD362}" dt="2023-01-30T04:26:16.106" v="4421" actId="2711"/>
        <pc:sldMkLst>
          <pc:docMk/>
          <pc:sldMk cId="914573862" sldId="2147473474"/>
        </pc:sldMkLst>
        <pc:spChg chg="mod">
          <ac:chgData name="Tường SKHĐT" userId="ab9568c39a88b08a" providerId="LiveId" clId="{D0D0D6DB-4B24-4E2C-A5FA-2AD6DFFBD362}" dt="2023-01-30T03:06:27.066" v="1278" actId="20577"/>
          <ac:spMkLst>
            <pc:docMk/>
            <pc:sldMk cId="914573862" sldId="2147473474"/>
            <ac:spMk id="3" creationId="{D56CE58D-FB5F-1D10-4BAF-E7B0E8BB9294}"/>
          </ac:spMkLst>
        </pc:spChg>
        <pc:graphicFrameChg chg="mod">
          <ac:chgData name="Tường SKHĐT" userId="ab9568c39a88b08a" providerId="LiveId" clId="{D0D0D6DB-4B24-4E2C-A5FA-2AD6DFFBD362}" dt="2023-01-30T04:26:16.106" v="4421" actId="2711"/>
          <ac:graphicFrameMkLst>
            <pc:docMk/>
            <pc:sldMk cId="914573862" sldId="2147473474"/>
            <ac:graphicFrameMk id="2" creationId="{A091C242-D65F-E0C5-16D6-B15756DA14A6}"/>
          </ac:graphicFrameMkLst>
        </pc:graphicFrameChg>
        <pc:cxnChg chg="mod">
          <ac:chgData name="Tường SKHĐT" userId="ab9568c39a88b08a" providerId="LiveId" clId="{D0D0D6DB-4B24-4E2C-A5FA-2AD6DFFBD362}" dt="2023-01-30T03:06:30.965" v="1279" actId="14100"/>
          <ac:cxnSpMkLst>
            <pc:docMk/>
            <pc:sldMk cId="914573862" sldId="2147473474"/>
            <ac:cxnSpMk id="5" creationId="{B76B30D3-4366-089A-F34D-48B859C3B869}"/>
          </ac:cxnSpMkLst>
        </pc:cxnChg>
      </pc:sldChg>
      <pc:sldChg chg="modSp">
        <pc:chgData name="Tường SKHĐT" userId="ab9568c39a88b08a" providerId="LiveId" clId="{D0D0D6DB-4B24-4E2C-A5FA-2AD6DFFBD362}" dt="2023-01-30T04:28:19.965" v="4537" actId="20577"/>
        <pc:sldMkLst>
          <pc:docMk/>
          <pc:sldMk cId="3133831680" sldId="2147473476"/>
        </pc:sldMkLst>
        <pc:graphicFrameChg chg="mod">
          <ac:chgData name="Tường SKHĐT" userId="ab9568c39a88b08a" providerId="LiveId" clId="{D0D0D6DB-4B24-4E2C-A5FA-2AD6DFFBD362}" dt="2023-01-30T04:28:19.965" v="4537" actId="20577"/>
          <ac:graphicFrameMkLst>
            <pc:docMk/>
            <pc:sldMk cId="3133831680" sldId="2147473476"/>
            <ac:graphicFrameMk id="2" creationId="{A091C242-D65F-E0C5-16D6-B15756DA14A6}"/>
          </ac:graphicFrameMkLst>
        </pc:graphicFrameChg>
      </pc:sldChg>
      <pc:sldChg chg="del">
        <pc:chgData name="Tường SKHĐT" userId="ab9568c39a88b08a" providerId="LiveId" clId="{D0D0D6DB-4B24-4E2C-A5FA-2AD6DFFBD362}" dt="2023-01-30T04:28:23.559" v="4538" actId="2696"/>
        <pc:sldMkLst>
          <pc:docMk/>
          <pc:sldMk cId="723199981" sldId="2147473477"/>
        </pc:sldMkLst>
      </pc:sldChg>
      <pc:sldChg chg="del">
        <pc:chgData name="Tường SKHĐT" userId="ab9568c39a88b08a" providerId="LiveId" clId="{D0D0D6DB-4B24-4E2C-A5FA-2AD6DFFBD362}" dt="2023-01-30T02:29:41.819" v="303" actId="2696"/>
        <pc:sldMkLst>
          <pc:docMk/>
          <pc:sldMk cId="2479977582" sldId="2147473493"/>
        </pc:sldMkLst>
      </pc:sldChg>
      <pc:sldChg chg="del">
        <pc:chgData name="Tường SKHĐT" userId="ab9568c39a88b08a" providerId="LiveId" clId="{D0D0D6DB-4B24-4E2C-A5FA-2AD6DFFBD362}" dt="2023-01-30T03:06:41.171" v="1281" actId="2696"/>
        <pc:sldMkLst>
          <pc:docMk/>
          <pc:sldMk cId="611726690" sldId="2147473494"/>
        </pc:sldMkLst>
      </pc:sldChg>
      <pc:sldChg chg="del">
        <pc:chgData name="Tường SKHĐT" userId="ab9568c39a88b08a" providerId="LiveId" clId="{D0D0D6DB-4B24-4E2C-A5FA-2AD6DFFBD362}" dt="2023-01-30T03:06:38.363" v="1280" actId="2696"/>
        <pc:sldMkLst>
          <pc:docMk/>
          <pc:sldMk cId="2920978512" sldId="2147473495"/>
        </pc:sldMkLst>
      </pc:sldChg>
      <pc:sldChg chg="addSp delSp modSp add del mod">
        <pc:chgData name="Tường SKHĐT" userId="ab9568c39a88b08a" providerId="LiveId" clId="{D0D0D6DB-4B24-4E2C-A5FA-2AD6DFFBD362}" dt="2023-01-30T04:17:18.043" v="3927" actId="2696"/>
        <pc:sldMkLst>
          <pc:docMk/>
          <pc:sldMk cId="517205925" sldId="2147473498"/>
        </pc:sldMkLst>
        <pc:graphicFrameChg chg="mod modGraphic">
          <ac:chgData name="Tường SKHĐT" userId="ab9568c39a88b08a" providerId="LiveId" clId="{D0D0D6DB-4B24-4E2C-A5FA-2AD6DFFBD362}" dt="2023-01-30T03:20:39.902" v="2074" actId="1076"/>
          <ac:graphicFrameMkLst>
            <pc:docMk/>
            <pc:sldMk cId="517205925" sldId="2147473498"/>
            <ac:graphicFrameMk id="15" creationId="{D67C70DE-72A0-BA49-E858-4C1EF7F2BF05}"/>
          </ac:graphicFrameMkLst>
        </pc:graphicFrameChg>
        <pc:graphicFrameChg chg="del">
          <ac:chgData name="Tường SKHĐT" userId="ab9568c39a88b08a" providerId="LiveId" clId="{D0D0D6DB-4B24-4E2C-A5FA-2AD6DFFBD362}" dt="2023-01-30T03:20:30.952" v="2071" actId="21"/>
          <ac:graphicFrameMkLst>
            <pc:docMk/>
            <pc:sldMk cId="517205925" sldId="2147473498"/>
            <ac:graphicFrameMk id="23" creationId="{715EE2B2-7873-A2CD-C784-98BDDA638E25}"/>
          </ac:graphicFrameMkLst>
        </pc:graphicFrameChg>
        <pc:picChg chg="add del mod">
          <ac:chgData name="Tường SKHĐT" userId="ab9568c39a88b08a" providerId="LiveId" clId="{D0D0D6DB-4B24-4E2C-A5FA-2AD6DFFBD362}" dt="2023-01-30T03:18:43.641" v="1910" actId="21"/>
          <ac:picMkLst>
            <pc:docMk/>
            <pc:sldMk cId="517205925" sldId="2147473498"/>
            <ac:picMk id="2" creationId="{A07B4889-E6A0-8193-FD79-3E07068F49B2}"/>
          </ac:picMkLst>
        </pc:picChg>
        <pc:picChg chg="add mod">
          <ac:chgData name="Tường SKHĐT" userId="ab9568c39a88b08a" providerId="LiveId" clId="{D0D0D6DB-4B24-4E2C-A5FA-2AD6DFFBD362}" dt="2023-01-30T03:20:33.711" v="2072" actId="1076"/>
          <ac:picMkLst>
            <pc:docMk/>
            <pc:sldMk cId="517205925" sldId="2147473498"/>
            <ac:picMk id="5" creationId="{5DBBE98A-EE15-AE36-1046-6258333079A2}"/>
          </ac:picMkLst>
        </pc:picChg>
        <pc:picChg chg="add mod">
          <ac:chgData name="Tường SKHĐT" userId="ab9568c39a88b08a" providerId="LiveId" clId="{D0D0D6DB-4B24-4E2C-A5FA-2AD6DFFBD362}" dt="2023-01-30T03:20:27.827" v="2070" actId="14100"/>
          <ac:picMkLst>
            <pc:docMk/>
            <pc:sldMk cId="517205925" sldId="2147473498"/>
            <ac:picMk id="9" creationId="{F98B4008-DD0B-FC9A-4B9B-EC0A6F0BC1E8}"/>
          </ac:picMkLst>
        </pc:picChg>
        <pc:picChg chg="del">
          <ac:chgData name="Tường SKHĐT" userId="ab9568c39a88b08a" providerId="LiveId" clId="{D0D0D6DB-4B24-4E2C-A5FA-2AD6DFFBD362}" dt="2023-01-30T03:18:41.157" v="1908" actId="21"/>
          <ac:picMkLst>
            <pc:docMk/>
            <pc:sldMk cId="517205925" sldId="2147473498"/>
            <ac:picMk id="11" creationId="{44A260C8-8CCB-B466-DFE0-5642F3CFBB3D}"/>
          </ac:picMkLst>
        </pc:picChg>
        <pc:picChg chg="del">
          <ac:chgData name="Tường SKHĐT" userId="ab9568c39a88b08a" providerId="LiveId" clId="{D0D0D6DB-4B24-4E2C-A5FA-2AD6DFFBD362}" dt="2023-01-30T03:19:06.171" v="1920" actId="21"/>
          <ac:picMkLst>
            <pc:docMk/>
            <pc:sldMk cId="517205925" sldId="2147473498"/>
            <ac:picMk id="14" creationId="{5D9AD6B5-31AB-4018-969C-355D9EC34C4B}"/>
          </ac:picMkLst>
        </pc:picChg>
        <pc:picChg chg="del">
          <ac:chgData name="Tường SKHĐT" userId="ab9568c39a88b08a" providerId="LiveId" clId="{D0D0D6DB-4B24-4E2C-A5FA-2AD6DFFBD362}" dt="2023-01-30T03:19:03.696" v="1919" actId="21"/>
          <ac:picMkLst>
            <pc:docMk/>
            <pc:sldMk cId="517205925" sldId="2147473498"/>
            <ac:picMk id="22" creationId="{EB9A7B31-08FA-4095-824F-A695148A1774}"/>
          </ac:picMkLst>
        </pc:picChg>
      </pc:sldChg>
      <pc:sldChg chg="modSp del mod">
        <pc:chgData name="Tường SKHĐT" userId="ab9568c39a88b08a" providerId="LiveId" clId="{D0D0D6DB-4B24-4E2C-A5FA-2AD6DFFBD362}" dt="2023-01-30T04:17:18.043" v="3927" actId="2696"/>
        <pc:sldMkLst>
          <pc:docMk/>
          <pc:sldMk cId="4071845434" sldId="2147473499"/>
        </pc:sldMkLst>
        <pc:spChg chg="mod">
          <ac:chgData name="Tường SKHĐT" userId="ab9568c39a88b08a" providerId="LiveId" clId="{D0D0D6DB-4B24-4E2C-A5FA-2AD6DFFBD362}" dt="2023-01-30T02:30:25.434" v="314" actId="20577"/>
          <ac:spMkLst>
            <pc:docMk/>
            <pc:sldMk cId="4071845434" sldId="2147473499"/>
            <ac:spMk id="4" creationId="{16D24723-A233-03FF-2329-1817AB93339D}"/>
          </ac:spMkLst>
        </pc:spChg>
      </pc:sldChg>
      <pc:sldChg chg="del">
        <pc:chgData name="Tường SKHĐT" userId="ab9568c39a88b08a" providerId="LiveId" clId="{D0D0D6DB-4B24-4E2C-A5FA-2AD6DFFBD362}" dt="2023-01-30T04:17:18.043" v="3927" actId="2696"/>
        <pc:sldMkLst>
          <pc:docMk/>
          <pc:sldMk cId="3215727463" sldId="2147473500"/>
        </pc:sldMkLst>
      </pc:sldChg>
      <pc:sldChg chg="del">
        <pc:chgData name="Tường SKHĐT" userId="ab9568c39a88b08a" providerId="LiveId" clId="{D0D0D6DB-4B24-4E2C-A5FA-2AD6DFFBD362}" dt="2023-01-30T04:17:18.043" v="3927" actId="2696"/>
        <pc:sldMkLst>
          <pc:docMk/>
          <pc:sldMk cId="1680809982" sldId="2147473501"/>
        </pc:sldMkLst>
      </pc:sldChg>
      <pc:sldChg chg="del">
        <pc:chgData name="Tường SKHĐT" userId="ab9568c39a88b08a" providerId="LiveId" clId="{D0D0D6DB-4B24-4E2C-A5FA-2AD6DFFBD362}" dt="2023-01-30T03:06:45.568" v="1282" actId="2696"/>
        <pc:sldMkLst>
          <pc:docMk/>
          <pc:sldMk cId="1302223711" sldId="2147473504"/>
        </pc:sldMkLst>
      </pc:sldChg>
      <pc:sldChg chg="del">
        <pc:chgData name="Tường SKHĐT" userId="ab9568c39a88b08a" providerId="LiveId" clId="{D0D0D6DB-4B24-4E2C-A5FA-2AD6DFFBD362}" dt="2023-01-30T04:17:18.043" v="3927" actId="2696"/>
        <pc:sldMkLst>
          <pc:docMk/>
          <pc:sldMk cId="1098375856" sldId="2147473511"/>
        </pc:sldMkLst>
      </pc:sldChg>
      <pc:sldChg chg="del">
        <pc:chgData name="Tường SKHĐT" userId="ab9568c39a88b08a" providerId="LiveId" clId="{D0D0D6DB-4B24-4E2C-A5FA-2AD6DFFBD362}" dt="2023-01-30T04:17:18.043" v="3927" actId="2696"/>
        <pc:sldMkLst>
          <pc:docMk/>
          <pc:sldMk cId="3883905374" sldId="2147473512"/>
        </pc:sldMkLst>
      </pc:sldChg>
      <pc:sldChg chg="del">
        <pc:chgData name="Tường SKHĐT" userId="ab9568c39a88b08a" providerId="LiveId" clId="{D0D0D6DB-4B24-4E2C-A5FA-2AD6DFFBD362}" dt="2023-01-30T02:30:37.836" v="316" actId="2696"/>
        <pc:sldMkLst>
          <pc:docMk/>
          <pc:sldMk cId="3554211324" sldId="2147473513"/>
        </pc:sldMkLst>
      </pc:sldChg>
      <pc:sldChg chg="modSp add mod">
        <pc:chgData name="Tường SKHĐT" userId="ab9568c39a88b08a" providerId="LiveId" clId="{D0D0D6DB-4B24-4E2C-A5FA-2AD6DFFBD362}" dt="2023-01-30T03:08:37.252" v="1313" actId="20577"/>
        <pc:sldMkLst>
          <pc:docMk/>
          <pc:sldMk cId="4092993056" sldId="2147473513"/>
        </pc:sldMkLst>
        <pc:spChg chg="mod">
          <ac:chgData name="Tường SKHĐT" userId="ab9568c39a88b08a" providerId="LiveId" clId="{D0D0D6DB-4B24-4E2C-A5FA-2AD6DFFBD362}" dt="2023-01-30T03:08:37.252" v="1313" actId="20577"/>
          <ac:spMkLst>
            <pc:docMk/>
            <pc:sldMk cId="4092993056" sldId="2147473513"/>
            <ac:spMk id="4" creationId="{00000000-0000-0000-0000-000000000000}"/>
          </ac:spMkLst>
        </pc:spChg>
        <pc:graphicFrameChg chg="mod modGraphic">
          <ac:chgData name="Tường SKHĐT" userId="ab9568c39a88b08a" providerId="LiveId" clId="{D0D0D6DB-4B24-4E2C-A5FA-2AD6DFFBD362}" dt="2023-01-30T03:06:02.717" v="1263" actId="255"/>
          <ac:graphicFrameMkLst>
            <pc:docMk/>
            <pc:sldMk cId="4092993056" sldId="2147473513"/>
            <ac:graphicFrameMk id="7" creationId="{44FD6820-12F5-8C73-583C-7D9F46E04367}"/>
          </ac:graphicFrameMkLst>
        </pc:graphicFrameChg>
      </pc:sldChg>
      <pc:sldChg chg="add del">
        <pc:chgData name="Tường SKHĐT" userId="ab9568c39a88b08a" providerId="LiveId" clId="{D0D0D6DB-4B24-4E2C-A5FA-2AD6DFFBD362}" dt="2023-01-30T04:17:07.513" v="3926" actId="2696"/>
        <pc:sldMkLst>
          <pc:docMk/>
          <pc:sldMk cId="1799571690" sldId="2147473514"/>
        </pc:sldMkLst>
      </pc:sldChg>
      <pc:sldChg chg="modSp add del mod">
        <pc:chgData name="Tường SKHĐT" userId="ab9568c39a88b08a" providerId="LiveId" clId="{D0D0D6DB-4B24-4E2C-A5FA-2AD6DFFBD362}" dt="2023-01-30T04:00:49.649" v="3128" actId="2696"/>
        <pc:sldMkLst>
          <pc:docMk/>
          <pc:sldMk cId="2835373866" sldId="2147473515"/>
        </pc:sldMkLst>
        <pc:spChg chg="mod">
          <ac:chgData name="Tường SKHĐT" userId="ab9568c39a88b08a" providerId="LiveId" clId="{D0D0D6DB-4B24-4E2C-A5FA-2AD6DFFBD362}" dt="2023-01-30T03:08:53.829" v="1351" actId="20577"/>
          <ac:spMkLst>
            <pc:docMk/>
            <pc:sldMk cId="2835373866" sldId="2147473515"/>
            <ac:spMk id="4" creationId="{16D24723-A233-03FF-2329-1817AB93339D}"/>
          </ac:spMkLst>
        </pc:spChg>
        <pc:spChg chg="mod">
          <ac:chgData name="Tường SKHĐT" userId="ab9568c39a88b08a" providerId="LiveId" clId="{D0D0D6DB-4B24-4E2C-A5FA-2AD6DFFBD362}" dt="2023-01-30T03:09:28.004" v="1417" actId="20577"/>
          <ac:spMkLst>
            <pc:docMk/>
            <pc:sldMk cId="2835373866" sldId="2147473515"/>
            <ac:spMk id="25" creationId="{01DC26C3-E6F4-C27A-8624-3A65D81B6008}"/>
          </ac:spMkLst>
        </pc:spChg>
        <pc:cxnChg chg="mod">
          <ac:chgData name="Tường SKHĐT" userId="ab9568c39a88b08a" providerId="LiveId" clId="{D0D0D6DB-4B24-4E2C-A5FA-2AD6DFFBD362}" dt="2023-01-30T03:08:57.616" v="1352" actId="14100"/>
          <ac:cxnSpMkLst>
            <pc:docMk/>
            <pc:sldMk cId="2835373866" sldId="2147473515"/>
            <ac:cxnSpMk id="6" creationId="{FF705920-E1B4-B4D0-9EA4-A27AA5761577}"/>
          </ac:cxnSpMkLst>
        </pc:cxnChg>
      </pc:sldChg>
      <pc:sldChg chg="delSp modSp add mod">
        <pc:chgData name="Tường SKHĐT" userId="ab9568c39a88b08a" providerId="LiveId" clId="{D0D0D6DB-4B24-4E2C-A5FA-2AD6DFFBD362}" dt="2023-01-30T03:49:36.545" v="2969" actId="1076"/>
        <pc:sldMkLst>
          <pc:docMk/>
          <pc:sldMk cId="1563031195" sldId="2147473516"/>
        </pc:sldMkLst>
        <pc:graphicFrameChg chg="mod modGraphic">
          <ac:chgData name="Tường SKHĐT" userId="ab9568c39a88b08a" providerId="LiveId" clId="{D0D0D6DB-4B24-4E2C-A5FA-2AD6DFFBD362}" dt="2023-01-30T03:49:36.545" v="2969" actId="1076"/>
          <ac:graphicFrameMkLst>
            <pc:docMk/>
            <pc:sldMk cId="1563031195" sldId="2147473516"/>
            <ac:graphicFrameMk id="8" creationId="{B5E5335D-2EED-82AF-3A59-FAE8BB94EAE1}"/>
          </ac:graphicFrameMkLst>
        </pc:graphicFrameChg>
        <pc:picChg chg="del">
          <ac:chgData name="Tường SKHĐT" userId="ab9568c39a88b08a" providerId="LiveId" clId="{D0D0D6DB-4B24-4E2C-A5FA-2AD6DFFBD362}" dt="2023-01-30T03:29:22.833" v="2326" actId="21"/>
          <ac:picMkLst>
            <pc:docMk/>
            <pc:sldMk cId="1563031195" sldId="2147473516"/>
            <ac:picMk id="2" creationId="{16605C4E-9FA9-B071-6168-61C2FDC3C012}"/>
          </ac:picMkLst>
        </pc:picChg>
        <pc:picChg chg="del">
          <ac:chgData name="Tường SKHĐT" userId="ab9568c39a88b08a" providerId="LiveId" clId="{D0D0D6DB-4B24-4E2C-A5FA-2AD6DFFBD362}" dt="2023-01-30T03:29:21.812" v="2325" actId="21"/>
          <ac:picMkLst>
            <pc:docMk/>
            <pc:sldMk cId="1563031195" sldId="2147473516"/>
            <ac:picMk id="3" creationId="{466D175B-E7A0-403E-714B-5AE0F14AB881}"/>
          </ac:picMkLst>
        </pc:picChg>
        <pc:picChg chg="del">
          <ac:chgData name="Tường SKHĐT" userId="ab9568c39a88b08a" providerId="LiveId" clId="{D0D0D6DB-4B24-4E2C-A5FA-2AD6DFFBD362}" dt="2023-01-30T03:29:24.486" v="2327" actId="21"/>
          <ac:picMkLst>
            <pc:docMk/>
            <pc:sldMk cId="1563031195" sldId="2147473516"/>
            <ac:picMk id="5" creationId="{BADDDCB0-F3BF-156C-D4C6-544937214C09}"/>
          </ac:picMkLst>
        </pc:picChg>
        <pc:picChg chg="del">
          <ac:chgData name="Tường SKHĐT" userId="ab9568c39a88b08a" providerId="LiveId" clId="{D0D0D6DB-4B24-4E2C-A5FA-2AD6DFFBD362}" dt="2023-01-30T03:29:26.135" v="2328" actId="21"/>
          <ac:picMkLst>
            <pc:docMk/>
            <pc:sldMk cId="1563031195" sldId="2147473516"/>
            <ac:picMk id="7" creationId="{90352AD0-E7ED-8AA7-C958-890418DD7953}"/>
          </ac:picMkLst>
        </pc:picChg>
      </pc:sldChg>
      <pc:sldChg chg="modSp add del mod">
        <pc:chgData name="Tường SKHĐT" userId="ab9568c39a88b08a" providerId="LiveId" clId="{D0D0D6DB-4B24-4E2C-A5FA-2AD6DFFBD362}" dt="2023-01-30T03:50:18.538" v="3038" actId="2696"/>
        <pc:sldMkLst>
          <pc:docMk/>
          <pc:sldMk cId="3396911251" sldId="2147473517"/>
        </pc:sldMkLst>
        <pc:spChg chg="mod">
          <ac:chgData name="Tường SKHĐT" userId="ab9568c39a88b08a" providerId="LiveId" clId="{D0D0D6DB-4B24-4E2C-A5FA-2AD6DFFBD362}" dt="2023-01-30T03:10:03.936" v="1489" actId="20577"/>
          <ac:spMkLst>
            <pc:docMk/>
            <pc:sldMk cId="3396911251" sldId="2147473517"/>
            <ac:spMk id="25" creationId="{01DC26C3-E6F4-C27A-8624-3A65D81B6008}"/>
          </ac:spMkLst>
        </pc:spChg>
      </pc:sldChg>
      <pc:sldChg chg="delSp modSp add mod">
        <pc:chgData name="Tường SKHĐT" userId="ab9568c39a88b08a" providerId="LiveId" clId="{D0D0D6DB-4B24-4E2C-A5FA-2AD6DFFBD362}" dt="2023-01-30T04:12:33.574" v="3647" actId="1035"/>
        <pc:sldMkLst>
          <pc:docMk/>
          <pc:sldMk cId="3024842976" sldId="2147473518"/>
        </pc:sldMkLst>
        <pc:spChg chg="mod">
          <ac:chgData name="Tường SKHĐT" userId="ab9568c39a88b08a" providerId="LiveId" clId="{D0D0D6DB-4B24-4E2C-A5FA-2AD6DFFBD362}" dt="2023-01-30T03:10:41.613" v="1611" actId="20577"/>
          <ac:spMkLst>
            <pc:docMk/>
            <pc:sldMk cId="3024842976" sldId="2147473518"/>
            <ac:spMk id="25" creationId="{01DC26C3-E6F4-C27A-8624-3A65D81B6008}"/>
          </ac:spMkLst>
        </pc:spChg>
        <pc:graphicFrameChg chg="mod modGraphic">
          <ac:chgData name="Tường SKHĐT" userId="ab9568c39a88b08a" providerId="LiveId" clId="{D0D0D6DB-4B24-4E2C-A5FA-2AD6DFFBD362}" dt="2023-01-30T04:12:33.574" v="3647" actId="1035"/>
          <ac:graphicFrameMkLst>
            <pc:docMk/>
            <pc:sldMk cId="3024842976" sldId="2147473518"/>
            <ac:graphicFrameMk id="8" creationId="{B5E5335D-2EED-82AF-3A59-FAE8BB94EAE1}"/>
          </ac:graphicFrameMkLst>
        </pc:graphicFrameChg>
        <pc:picChg chg="del">
          <ac:chgData name="Tường SKHĐT" userId="ab9568c39a88b08a" providerId="LiveId" clId="{D0D0D6DB-4B24-4E2C-A5FA-2AD6DFFBD362}" dt="2023-01-30T03:55:02.356" v="3103" actId="21"/>
          <ac:picMkLst>
            <pc:docMk/>
            <pc:sldMk cId="3024842976" sldId="2147473518"/>
            <ac:picMk id="2" creationId="{16605C4E-9FA9-B071-6168-61C2FDC3C012}"/>
          </ac:picMkLst>
        </pc:picChg>
        <pc:picChg chg="del">
          <ac:chgData name="Tường SKHĐT" userId="ab9568c39a88b08a" providerId="LiveId" clId="{D0D0D6DB-4B24-4E2C-A5FA-2AD6DFFBD362}" dt="2023-01-30T03:55:00.800" v="3102" actId="21"/>
          <ac:picMkLst>
            <pc:docMk/>
            <pc:sldMk cId="3024842976" sldId="2147473518"/>
            <ac:picMk id="3" creationId="{466D175B-E7A0-403E-714B-5AE0F14AB881}"/>
          </ac:picMkLst>
        </pc:picChg>
        <pc:picChg chg="del">
          <ac:chgData name="Tường SKHĐT" userId="ab9568c39a88b08a" providerId="LiveId" clId="{D0D0D6DB-4B24-4E2C-A5FA-2AD6DFFBD362}" dt="2023-01-30T03:55:03.707" v="3104" actId="21"/>
          <ac:picMkLst>
            <pc:docMk/>
            <pc:sldMk cId="3024842976" sldId="2147473518"/>
            <ac:picMk id="5" creationId="{BADDDCB0-F3BF-156C-D4C6-544937214C09}"/>
          </ac:picMkLst>
        </pc:picChg>
        <pc:picChg chg="del">
          <ac:chgData name="Tường SKHĐT" userId="ab9568c39a88b08a" providerId="LiveId" clId="{D0D0D6DB-4B24-4E2C-A5FA-2AD6DFFBD362}" dt="2023-01-30T03:55:05.239" v="3105" actId="21"/>
          <ac:picMkLst>
            <pc:docMk/>
            <pc:sldMk cId="3024842976" sldId="2147473518"/>
            <ac:picMk id="7" creationId="{90352AD0-E7ED-8AA7-C958-890418DD7953}"/>
          </ac:picMkLst>
        </pc:picChg>
      </pc:sldChg>
      <pc:sldChg chg="delSp modSp add mod">
        <pc:chgData name="Tường SKHĐT" userId="ab9568c39a88b08a" providerId="LiveId" clId="{D0D0D6DB-4B24-4E2C-A5FA-2AD6DFFBD362}" dt="2023-01-30T04:16:22.748" v="3919" actId="20577"/>
        <pc:sldMkLst>
          <pc:docMk/>
          <pc:sldMk cId="2957479116" sldId="2147473519"/>
        </pc:sldMkLst>
        <pc:spChg chg="mod">
          <ac:chgData name="Tường SKHĐT" userId="ab9568c39a88b08a" providerId="LiveId" clId="{D0D0D6DB-4B24-4E2C-A5FA-2AD6DFFBD362}" dt="2023-01-30T03:10:59.260" v="1679" actId="6549"/>
          <ac:spMkLst>
            <pc:docMk/>
            <pc:sldMk cId="2957479116" sldId="2147473519"/>
            <ac:spMk id="25" creationId="{01DC26C3-E6F4-C27A-8624-3A65D81B6008}"/>
          </ac:spMkLst>
        </pc:spChg>
        <pc:graphicFrameChg chg="mod modGraphic">
          <ac:chgData name="Tường SKHĐT" userId="ab9568c39a88b08a" providerId="LiveId" clId="{D0D0D6DB-4B24-4E2C-A5FA-2AD6DFFBD362}" dt="2023-01-30T04:16:22.748" v="3919" actId="20577"/>
          <ac:graphicFrameMkLst>
            <pc:docMk/>
            <pc:sldMk cId="2957479116" sldId="2147473519"/>
            <ac:graphicFrameMk id="8" creationId="{B5E5335D-2EED-82AF-3A59-FAE8BB94EAE1}"/>
          </ac:graphicFrameMkLst>
        </pc:graphicFrameChg>
        <pc:picChg chg="del">
          <ac:chgData name="Tường SKHĐT" userId="ab9568c39a88b08a" providerId="LiveId" clId="{D0D0D6DB-4B24-4E2C-A5FA-2AD6DFFBD362}" dt="2023-01-30T04:00:03.346" v="3108" actId="21"/>
          <ac:picMkLst>
            <pc:docMk/>
            <pc:sldMk cId="2957479116" sldId="2147473519"/>
            <ac:picMk id="2" creationId="{16605C4E-9FA9-B071-6168-61C2FDC3C012}"/>
          </ac:picMkLst>
        </pc:picChg>
        <pc:picChg chg="del">
          <ac:chgData name="Tường SKHĐT" userId="ab9568c39a88b08a" providerId="LiveId" clId="{D0D0D6DB-4B24-4E2C-A5FA-2AD6DFFBD362}" dt="2023-01-30T04:00:02.056" v="3107" actId="21"/>
          <ac:picMkLst>
            <pc:docMk/>
            <pc:sldMk cId="2957479116" sldId="2147473519"/>
            <ac:picMk id="3" creationId="{466D175B-E7A0-403E-714B-5AE0F14AB881}"/>
          </ac:picMkLst>
        </pc:picChg>
        <pc:picChg chg="del">
          <ac:chgData name="Tường SKHĐT" userId="ab9568c39a88b08a" providerId="LiveId" clId="{D0D0D6DB-4B24-4E2C-A5FA-2AD6DFFBD362}" dt="2023-01-30T04:00:05.478" v="3109" actId="21"/>
          <ac:picMkLst>
            <pc:docMk/>
            <pc:sldMk cId="2957479116" sldId="2147473519"/>
            <ac:picMk id="5" creationId="{BADDDCB0-F3BF-156C-D4C6-544937214C09}"/>
          </ac:picMkLst>
        </pc:picChg>
        <pc:picChg chg="del">
          <ac:chgData name="Tường SKHĐT" userId="ab9568c39a88b08a" providerId="LiveId" clId="{D0D0D6DB-4B24-4E2C-A5FA-2AD6DFFBD362}" dt="2023-01-30T04:00:06.996" v="3110" actId="21"/>
          <ac:picMkLst>
            <pc:docMk/>
            <pc:sldMk cId="2957479116" sldId="2147473519"/>
            <ac:picMk id="7" creationId="{90352AD0-E7ED-8AA7-C958-890418DD7953}"/>
          </ac:picMkLst>
        </pc:picChg>
      </pc:sldChg>
      <pc:sldChg chg="delSp modSp add mod">
        <pc:chgData name="Tường SKHĐT" userId="ab9568c39a88b08a" providerId="LiveId" clId="{D0D0D6DB-4B24-4E2C-A5FA-2AD6DFFBD362}" dt="2023-01-30T04:04:00.990" v="3224" actId="20577"/>
        <pc:sldMkLst>
          <pc:docMk/>
          <pc:sldMk cId="848398433" sldId="2147473520"/>
        </pc:sldMkLst>
        <pc:spChg chg="mod">
          <ac:chgData name="Tường SKHĐT" userId="ab9568c39a88b08a" providerId="LiveId" clId="{D0D0D6DB-4B24-4E2C-A5FA-2AD6DFFBD362}" dt="2023-01-30T04:03:19.734" v="3210" actId="20577"/>
          <ac:spMkLst>
            <pc:docMk/>
            <pc:sldMk cId="848398433" sldId="2147473520"/>
            <ac:spMk id="25" creationId="{01DC26C3-E6F4-C27A-8624-3A65D81B6008}"/>
          </ac:spMkLst>
        </pc:spChg>
        <pc:graphicFrameChg chg="mod modGraphic">
          <ac:chgData name="Tường SKHĐT" userId="ab9568c39a88b08a" providerId="LiveId" clId="{D0D0D6DB-4B24-4E2C-A5FA-2AD6DFFBD362}" dt="2023-01-30T04:04:00.990" v="3224" actId="20577"/>
          <ac:graphicFrameMkLst>
            <pc:docMk/>
            <pc:sldMk cId="848398433" sldId="2147473520"/>
            <ac:graphicFrameMk id="8" creationId="{B5E5335D-2EED-82AF-3A59-FAE8BB94EAE1}"/>
          </ac:graphicFrameMkLst>
        </pc:graphicFrameChg>
        <pc:picChg chg="del">
          <ac:chgData name="Tường SKHĐT" userId="ab9568c39a88b08a" providerId="LiveId" clId="{D0D0D6DB-4B24-4E2C-A5FA-2AD6DFFBD362}" dt="2023-01-30T04:00:13.511" v="3113" actId="21"/>
          <ac:picMkLst>
            <pc:docMk/>
            <pc:sldMk cId="848398433" sldId="2147473520"/>
            <ac:picMk id="2" creationId="{16605C4E-9FA9-B071-6168-61C2FDC3C012}"/>
          </ac:picMkLst>
        </pc:picChg>
        <pc:picChg chg="del">
          <ac:chgData name="Tường SKHĐT" userId="ab9568c39a88b08a" providerId="LiveId" clId="{D0D0D6DB-4B24-4E2C-A5FA-2AD6DFFBD362}" dt="2023-01-30T04:00:12.468" v="3112" actId="21"/>
          <ac:picMkLst>
            <pc:docMk/>
            <pc:sldMk cId="848398433" sldId="2147473520"/>
            <ac:picMk id="3" creationId="{466D175B-E7A0-403E-714B-5AE0F14AB881}"/>
          </ac:picMkLst>
        </pc:picChg>
        <pc:picChg chg="del">
          <ac:chgData name="Tường SKHĐT" userId="ab9568c39a88b08a" providerId="LiveId" clId="{D0D0D6DB-4B24-4E2C-A5FA-2AD6DFFBD362}" dt="2023-01-30T04:00:15.199" v="3114" actId="21"/>
          <ac:picMkLst>
            <pc:docMk/>
            <pc:sldMk cId="848398433" sldId="2147473520"/>
            <ac:picMk id="5" creationId="{BADDDCB0-F3BF-156C-D4C6-544937214C09}"/>
          </ac:picMkLst>
        </pc:picChg>
        <pc:picChg chg="del">
          <ac:chgData name="Tường SKHĐT" userId="ab9568c39a88b08a" providerId="LiveId" clId="{D0D0D6DB-4B24-4E2C-A5FA-2AD6DFFBD362}" dt="2023-01-30T04:00:16.866" v="3115" actId="21"/>
          <ac:picMkLst>
            <pc:docMk/>
            <pc:sldMk cId="848398433" sldId="2147473520"/>
            <ac:picMk id="7" creationId="{90352AD0-E7ED-8AA7-C958-890418DD7953}"/>
          </ac:picMkLst>
        </pc:picChg>
      </pc:sldChg>
      <pc:sldChg chg="delSp modSp add mod">
        <pc:chgData name="Tường SKHĐT" userId="ab9568c39a88b08a" providerId="LiveId" clId="{D0D0D6DB-4B24-4E2C-A5FA-2AD6DFFBD362}" dt="2023-01-30T04:20:22.244" v="4009" actId="404"/>
        <pc:sldMkLst>
          <pc:docMk/>
          <pc:sldMk cId="2307671257" sldId="2147473521"/>
        </pc:sldMkLst>
        <pc:spChg chg="mod">
          <ac:chgData name="Tường SKHĐT" userId="ab9568c39a88b08a" providerId="LiveId" clId="{D0D0D6DB-4B24-4E2C-A5FA-2AD6DFFBD362}" dt="2023-01-30T03:11:37.652" v="1759" actId="20577"/>
          <ac:spMkLst>
            <pc:docMk/>
            <pc:sldMk cId="2307671257" sldId="2147473521"/>
            <ac:spMk id="25" creationId="{01DC26C3-E6F4-C27A-8624-3A65D81B6008}"/>
          </ac:spMkLst>
        </pc:spChg>
        <pc:graphicFrameChg chg="mod modGraphic">
          <ac:chgData name="Tường SKHĐT" userId="ab9568c39a88b08a" providerId="LiveId" clId="{D0D0D6DB-4B24-4E2C-A5FA-2AD6DFFBD362}" dt="2023-01-30T04:20:22.244" v="4009" actId="404"/>
          <ac:graphicFrameMkLst>
            <pc:docMk/>
            <pc:sldMk cId="2307671257" sldId="2147473521"/>
            <ac:graphicFrameMk id="8" creationId="{B5E5335D-2EED-82AF-3A59-FAE8BB94EAE1}"/>
          </ac:graphicFrameMkLst>
        </pc:graphicFrameChg>
        <pc:picChg chg="del">
          <ac:chgData name="Tường SKHĐT" userId="ab9568c39a88b08a" providerId="LiveId" clId="{D0D0D6DB-4B24-4E2C-A5FA-2AD6DFFBD362}" dt="2023-01-30T04:00:24.468" v="3118" actId="21"/>
          <ac:picMkLst>
            <pc:docMk/>
            <pc:sldMk cId="2307671257" sldId="2147473521"/>
            <ac:picMk id="2" creationId="{16605C4E-9FA9-B071-6168-61C2FDC3C012}"/>
          </ac:picMkLst>
        </pc:picChg>
        <pc:picChg chg="del">
          <ac:chgData name="Tường SKHĐT" userId="ab9568c39a88b08a" providerId="LiveId" clId="{D0D0D6DB-4B24-4E2C-A5FA-2AD6DFFBD362}" dt="2023-01-30T04:00:23.550" v="3117" actId="21"/>
          <ac:picMkLst>
            <pc:docMk/>
            <pc:sldMk cId="2307671257" sldId="2147473521"/>
            <ac:picMk id="3" creationId="{466D175B-E7A0-403E-714B-5AE0F14AB881}"/>
          </ac:picMkLst>
        </pc:picChg>
        <pc:picChg chg="del">
          <ac:chgData name="Tường SKHĐT" userId="ab9568c39a88b08a" providerId="LiveId" clId="{D0D0D6DB-4B24-4E2C-A5FA-2AD6DFFBD362}" dt="2023-01-30T04:00:26.535" v="3119" actId="21"/>
          <ac:picMkLst>
            <pc:docMk/>
            <pc:sldMk cId="2307671257" sldId="2147473521"/>
            <ac:picMk id="5" creationId="{BADDDCB0-F3BF-156C-D4C6-544937214C09}"/>
          </ac:picMkLst>
        </pc:picChg>
        <pc:picChg chg="del">
          <ac:chgData name="Tường SKHĐT" userId="ab9568c39a88b08a" providerId="LiveId" clId="{D0D0D6DB-4B24-4E2C-A5FA-2AD6DFFBD362}" dt="2023-01-30T04:00:28.038" v="3120" actId="21"/>
          <ac:picMkLst>
            <pc:docMk/>
            <pc:sldMk cId="2307671257" sldId="2147473521"/>
            <ac:picMk id="7" creationId="{90352AD0-E7ED-8AA7-C958-890418DD7953}"/>
          </ac:picMkLst>
        </pc:picChg>
      </pc:sldChg>
      <pc:sldChg chg="addSp delSp modSp add mod">
        <pc:chgData name="Tường SKHĐT" userId="ab9568c39a88b08a" providerId="LiveId" clId="{D0D0D6DB-4B24-4E2C-A5FA-2AD6DFFBD362}" dt="2023-01-30T04:23:48.048" v="4370" actId="20577"/>
        <pc:sldMkLst>
          <pc:docMk/>
          <pc:sldMk cId="2802465441" sldId="2147473522"/>
        </pc:sldMkLst>
        <pc:spChg chg="mod">
          <ac:chgData name="Tường SKHĐT" userId="ab9568c39a88b08a" providerId="LiveId" clId="{D0D0D6DB-4B24-4E2C-A5FA-2AD6DFFBD362}" dt="2023-01-30T03:11:52.930" v="1801" actId="6549"/>
          <ac:spMkLst>
            <pc:docMk/>
            <pc:sldMk cId="2802465441" sldId="2147473522"/>
            <ac:spMk id="25" creationId="{01DC26C3-E6F4-C27A-8624-3A65D81B6008}"/>
          </ac:spMkLst>
        </pc:spChg>
        <pc:graphicFrameChg chg="del modGraphic">
          <ac:chgData name="Tường SKHĐT" userId="ab9568c39a88b08a" providerId="LiveId" clId="{D0D0D6DB-4B24-4E2C-A5FA-2AD6DFFBD362}" dt="2023-01-30T04:20:49.580" v="4014" actId="21"/>
          <ac:graphicFrameMkLst>
            <pc:docMk/>
            <pc:sldMk cId="2802465441" sldId="2147473522"/>
            <ac:graphicFrameMk id="8" creationId="{B5E5335D-2EED-82AF-3A59-FAE8BB94EAE1}"/>
          </ac:graphicFrameMkLst>
        </pc:graphicFrameChg>
        <pc:graphicFrameChg chg="add mod modGraphic">
          <ac:chgData name="Tường SKHĐT" userId="ab9568c39a88b08a" providerId="LiveId" clId="{D0D0D6DB-4B24-4E2C-A5FA-2AD6DFFBD362}" dt="2023-01-30T04:23:48.048" v="4370" actId="20577"/>
          <ac:graphicFrameMkLst>
            <pc:docMk/>
            <pc:sldMk cId="2802465441" sldId="2147473522"/>
            <ac:graphicFrameMk id="9" creationId="{0FC7DBA8-03B5-1D5D-B7A1-68AA6F62DF7E}"/>
          </ac:graphicFrameMkLst>
        </pc:graphicFrameChg>
        <pc:picChg chg="del">
          <ac:chgData name="Tường SKHĐT" userId="ab9568c39a88b08a" providerId="LiveId" clId="{D0D0D6DB-4B24-4E2C-A5FA-2AD6DFFBD362}" dt="2023-01-30T04:00:37.833" v="3124" actId="21"/>
          <ac:picMkLst>
            <pc:docMk/>
            <pc:sldMk cId="2802465441" sldId="2147473522"/>
            <ac:picMk id="2" creationId="{16605C4E-9FA9-B071-6168-61C2FDC3C012}"/>
          </ac:picMkLst>
        </pc:picChg>
        <pc:picChg chg="del">
          <ac:chgData name="Tường SKHĐT" userId="ab9568c39a88b08a" providerId="LiveId" clId="{D0D0D6DB-4B24-4E2C-A5FA-2AD6DFFBD362}" dt="2023-01-30T04:00:36.692" v="3123" actId="21"/>
          <ac:picMkLst>
            <pc:docMk/>
            <pc:sldMk cId="2802465441" sldId="2147473522"/>
            <ac:picMk id="3" creationId="{466D175B-E7A0-403E-714B-5AE0F14AB881}"/>
          </ac:picMkLst>
        </pc:picChg>
        <pc:picChg chg="del">
          <ac:chgData name="Tường SKHĐT" userId="ab9568c39a88b08a" providerId="LiveId" clId="{D0D0D6DB-4B24-4E2C-A5FA-2AD6DFFBD362}" dt="2023-01-30T04:00:39.394" v="3125" actId="21"/>
          <ac:picMkLst>
            <pc:docMk/>
            <pc:sldMk cId="2802465441" sldId="2147473522"/>
            <ac:picMk id="5" creationId="{BADDDCB0-F3BF-156C-D4C6-544937214C09}"/>
          </ac:picMkLst>
        </pc:picChg>
        <pc:picChg chg="del">
          <ac:chgData name="Tường SKHĐT" userId="ab9568c39a88b08a" providerId="LiveId" clId="{D0D0D6DB-4B24-4E2C-A5FA-2AD6DFFBD362}" dt="2023-01-30T04:00:40.760" v="3126" actId="21"/>
          <ac:picMkLst>
            <pc:docMk/>
            <pc:sldMk cId="2802465441" sldId="2147473522"/>
            <ac:picMk id="7" creationId="{90352AD0-E7ED-8AA7-C958-890418DD7953}"/>
          </ac:picMkLst>
        </pc:picChg>
      </pc:sldChg>
      <pc:sldChg chg="delSp add mod">
        <pc:chgData name="Tường SKHĐT" userId="ab9568c39a88b08a" providerId="LiveId" clId="{D0D0D6DB-4B24-4E2C-A5FA-2AD6DFFBD362}" dt="2023-01-30T03:12:13.529" v="1804" actId="478"/>
        <pc:sldMkLst>
          <pc:docMk/>
          <pc:sldMk cId="2107077082" sldId="2147473523"/>
        </pc:sldMkLst>
        <pc:cxnChg chg="del">
          <ac:chgData name="Tường SKHĐT" userId="ab9568c39a88b08a" providerId="LiveId" clId="{D0D0D6DB-4B24-4E2C-A5FA-2AD6DFFBD362}" dt="2023-01-30T03:12:13.529" v="1804" actId="478"/>
          <ac:cxnSpMkLst>
            <pc:docMk/>
            <pc:sldMk cId="2107077082" sldId="2147473523"/>
            <ac:cxnSpMk id="13" creationId="{00000000-0000-0000-0000-000000000000}"/>
          </ac:cxnSpMkLst>
        </pc:cxnChg>
        <pc:cxnChg chg="del">
          <ac:chgData name="Tường SKHĐT" userId="ab9568c39a88b08a" providerId="LiveId" clId="{D0D0D6DB-4B24-4E2C-A5FA-2AD6DFFBD362}" dt="2023-01-30T03:12:12.846" v="1803" actId="478"/>
          <ac:cxnSpMkLst>
            <pc:docMk/>
            <pc:sldMk cId="2107077082" sldId="2147473523"/>
            <ac:cxnSpMk id="14" creationId="{00000000-0000-0000-0000-000000000000}"/>
          </ac:cxnSpMkLst>
        </pc:cxnChg>
      </pc:sldChg>
      <pc:sldChg chg="add">
        <pc:chgData name="Tường SKHĐT" userId="ab9568c39a88b08a" providerId="LiveId" clId="{D0D0D6DB-4B24-4E2C-A5FA-2AD6DFFBD362}" dt="2023-01-30T03:12:30.187" v="1806"/>
        <pc:sldMkLst>
          <pc:docMk/>
          <pc:sldMk cId="1822639037" sldId="2147473524"/>
        </pc:sldMkLst>
      </pc:sldChg>
      <pc:sldChg chg="addSp modSp add mod">
        <pc:chgData name="Tường SKHĐT" userId="ab9568c39a88b08a" providerId="LiveId" clId="{D0D0D6DB-4B24-4E2C-A5FA-2AD6DFFBD362}" dt="2023-01-30T03:16:00.630" v="1905" actId="20577"/>
        <pc:sldMkLst>
          <pc:docMk/>
          <pc:sldMk cId="2447285934" sldId="2147473525"/>
        </pc:sldMkLst>
        <pc:spChg chg="add mod">
          <ac:chgData name="Tường SKHĐT" userId="ab9568c39a88b08a" providerId="LiveId" clId="{D0D0D6DB-4B24-4E2C-A5FA-2AD6DFFBD362}" dt="2023-01-30T03:14:47.490" v="1868" actId="1076"/>
          <ac:spMkLst>
            <pc:docMk/>
            <pc:sldMk cId="2447285934" sldId="2147473525"/>
            <ac:spMk id="2" creationId="{5CA64A82-F21B-62CF-B485-0F935AE7046A}"/>
          </ac:spMkLst>
        </pc:spChg>
        <pc:spChg chg="mod">
          <ac:chgData name="Tường SKHĐT" userId="ab9568c39a88b08a" providerId="LiveId" clId="{D0D0D6DB-4B24-4E2C-A5FA-2AD6DFFBD362}" dt="2023-01-30T03:15:48.970" v="1896" actId="688"/>
          <ac:spMkLst>
            <pc:docMk/>
            <pc:sldMk cId="2447285934" sldId="2147473525"/>
            <ac:spMk id="25" creationId="{76FC2223-CBDC-4B1C-A8C6-0DBB61B65684}"/>
          </ac:spMkLst>
        </pc:spChg>
        <pc:spChg chg="mod">
          <ac:chgData name="Tường SKHĐT" userId="ab9568c39a88b08a" providerId="LiveId" clId="{D0D0D6DB-4B24-4E2C-A5FA-2AD6DFFBD362}" dt="2023-01-30T03:16:00.630" v="1905" actId="20577"/>
          <ac:spMkLst>
            <pc:docMk/>
            <pc:sldMk cId="2447285934" sldId="2147473525"/>
            <ac:spMk id="50" creationId="{00000000-0000-0000-0000-000000000000}"/>
          </ac:spMkLst>
        </pc:spChg>
        <pc:spChg chg="mod">
          <ac:chgData name="Tường SKHĐT" userId="ab9568c39a88b08a" providerId="LiveId" clId="{D0D0D6DB-4B24-4E2C-A5FA-2AD6DFFBD362}" dt="2023-01-30T03:15:22.094" v="1880" actId="20577"/>
          <ac:spMkLst>
            <pc:docMk/>
            <pc:sldMk cId="2447285934" sldId="2147473525"/>
            <ac:spMk id="65" creationId="{00000000-0000-0000-0000-000000000000}"/>
          </ac:spMkLst>
        </pc:spChg>
        <pc:spChg chg="mod">
          <ac:chgData name="Tường SKHĐT" userId="ab9568c39a88b08a" providerId="LiveId" clId="{D0D0D6DB-4B24-4E2C-A5FA-2AD6DFFBD362}" dt="2023-01-30T03:13:58.797" v="1849" actId="688"/>
          <ac:spMkLst>
            <pc:docMk/>
            <pc:sldMk cId="2447285934" sldId="2147473525"/>
            <ac:spMk id="66" creationId="{76FC2223-CBDC-4B1C-A8C6-0DBB61B65684}"/>
          </ac:spMkLst>
        </pc:spChg>
        <pc:spChg chg="mod">
          <ac:chgData name="Tường SKHĐT" userId="ab9568c39a88b08a" providerId="LiveId" clId="{D0D0D6DB-4B24-4E2C-A5FA-2AD6DFFBD362}" dt="2023-01-30T03:14:59.750" v="1874" actId="20577"/>
          <ac:spMkLst>
            <pc:docMk/>
            <pc:sldMk cId="2447285934" sldId="2147473525"/>
            <ac:spMk id="67" creationId="{00000000-0000-0000-0000-000000000000}"/>
          </ac:spMkLst>
        </pc:spChg>
      </pc:sldChg>
      <pc:sldChg chg="delSp modSp add mod">
        <pc:chgData name="Tường SKHĐT" userId="ab9568c39a88b08a" providerId="LiveId" clId="{D0D0D6DB-4B24-4E2C-A5FA-2AD6DFFBD362}" dt="2023-01-30T04:07:20.988" v="3336" actId="1076"/>
        <pc:sldMkLst>
          <pc:docMk/>
          <pc:sldMk cId="2589014937" sldId="2147473526"/>
        </pc:sldMkLst>
        <pc:spChg chg="mod">
          <ac:chgData name="Tường SKHĐT" userId="ab9568c39a88b08a" providerId="LiveId" clId="{D0D0D6DB-4B24-4E2C-A5FA-2AD6DFFBD362}" dt="2023-01-30T04:07:15.522" v="3335" actId="1038"/>
          <ac:spMkLst>
            <pc:docMk/>
            <pc:sldMk cId="2589014937" sldId="2147473526"/>
            <ac:spMk id="2" creationId="{80607D77-8D89-B2B8-17A1-5EC409702721}"/>
          </ac:spMkLst>
        </pc:spChg>
        <pc:spChg chg="mod">
          <ac:chgData name="Tường SKHĐT" userId="ab9568c39a88b08a" providerId="LiveId" clId="{D0D0D6DB-4B24-4E2C-A5FA-2AD6DFFBD362}" dt="2023-01-30T04:07:20.988" v="3336" actId="1076"/>
          <ac:spMkLst>
            <pc:docMk/>
            <pc:sldMk cId="2589014937" sldId="2147473526"/>
            <ac:spMk id="3" creationId="{A0D5D58A-756E-802D-A09E-1BEA6D184E77}"/>
          </ac:spMkLst>
        </pc:spChg>
        <pc:spChg chg="mod">
          <ac:chgData name="Tường SKHĐT" userId="ab9568c39a88b08a" providerId="LiveId" clId="{D0D0D6DB-4B24-4E2C-A5FA-2AD6DFFBD362}" dt="2023-01-30T04:07:15.522" v="3335" actId="1038"/>
          <ac:spMkLst>
            <pc:docMk/>
            <pc:sldMk cId="2589014937" sldId="2147473526"/>
            <ac:spMk id="12" creationId="{850931EF-4279-23FD-6428-18C12049025E}"/>
          </ac:spMkLst>
        </pc:spChg>
        <pc:spChg chg="mod">
          <ac:chgData name="Tường SKHĐT" userId="ab9568c39a88b08a" providerId="LiveId" clId="{D0D0D6DB-4B24-4E2C-A5FA-2AD6DFFBD362}" dt="2023-01-30T04:07:15.522" v="3335" actId="1038"/>
          <ac:spMkLst>
            <pc:docMk/>
            <pc:sldMk cId="2589014937" sldId="2147473526"/>
            <ac:spMk id="13" creationId="{CFB1DF66-0E98-FC84-B508-AAB8AC25D4B3}"/>
          </ac:spMkLst>
        </pc:spChg>
        <pc:spChg chg="mod">
          <ac:chgData name="Tường SKHĐT" userId="ab9568c39a88b08a" providerId="LiveId" clId="{D0D0D6DB-4B24-4E2C-A5FA-2AD6DFFBD362}" dt="2023-01-30T04:07:15.522" v="3335" actId="1038"/>
          <ac:spMkLst>
            <pc:docMk/>
            <pc:sldMk cId="2589014937" sldId="2147473526"/>
            <ac:spMk id="14" creationId="{2FB61F8A-9A24-43C5-EEAD-699E1478B087}"/>
          </ac:spMkLst>
        </pc:spChg>
        <pc:spChg chg="mod">
          <ac:chgData name="Tường SKHĐT" userId="ab9568c39a88b08a" providerId="LiveId" clId="{D0D0D6DB-4B24-4E2C-A5FA-2AD6DFFBD362}" dt="2023-01-30T04:07:15.522" v="3335" actId="1038"/>
          <ac:spMkLst>
            <pc:docMk/>
            <pc:sldMk cId="2589014937" sldId="2147473526"/>
            <ac:spMk id="15" creationId="{741F0E28-9B46-DEE8-72B4-31C74A048999}"/>
          </ac:spMkLst>
        </pc:spChg>
        <pc:spChg chg="mod">
          <ac:chgData name="Tường SKHĐT" userId="ab9568c39a88b08a" providerId="LiveId" clId="{D0D0D6DB-4B24-4E2C-A5FA-2AD6DFFBD362}" dt="2023-01-30T04:07:15.522" v="3335" actId="1038"/>
          <ac:spMkLst>
            <pc:docMk/>
            <pc:sldMk cId="2589014937" sldId="2147473526"/>
            <ac:spMk id="16" creationId="{CD1FFBD1-4EFA-ED54-8F81-E3C9559069D4}"/>
          </ac:spMkLst>
        </pc:spChg>
        <pc:spChg chg="del">
          <ac:chgData name="Tường SKHĐT" userId="ab9568c39a88b08a" providerId="LiveId" clId="{D0D0D6DB-4B24-4E2C-A5FA-2AD6DFFBD362}" dt="2023-01-30T04:07:05.305" v="3306" actId="478"/>
          <ac:spMkLst>
            <pc:docMk/>
            <pc:sldMk cId="2589014937" sldId="2147473526"/>
            <ac:spMk id="18" creationId="{58306AA8-5254-DFC1-0F61-6C817BB6A0E9}"/>
          </ac:spMkLst>
        </pc:spChg>
        <pc:spChg chg="mod">
          <ac:chgData name="Tường SKHĐT" userId="ab9568c39a88b08a" providerId="LiveId" clId="{D0D0D6DB-4B24-4E2C-A5FA-2AD6DFFBD362}" dt="2023-01-30T04:07:15.522" v="3335" actId="1038"/>
          <ac:spMkLst>
            <pc:docMk/>
            <pc:sldMk cId="2589014937" sldId="2147473526"/>
            <ac:spMk id="19" creationId="{122A9A1C-AFFE-3821-B2D0-B1BF037AF2EA}"/>
          </ac:spMkLst>
        </pc:spChg>
        <pc:spChg chg="mod">
          <ac:chgData name="Tường SKHĐT" userId="ab9568c39a88b08a" providerId="LiveId" clId="{D0D0D6DB-4B24-4E2C-A5FA-2AD6DFFBD362}" dt="2023-01-30T04:07:15.522" v="3335" actId="1038"/>
          <ac:spMkLst>
            <pc:docMk/>
            <pc:sldMk cId="2589014937" sldId="2147473526"/>
            <ac:spMk id="20" creationId="{9EFE970E-0B98-B556-3A4B-E26C7CAD10CA}"/>
          </ac:spMkLst>
        </pc:spChg>
        <pc:spChg chg="del">
          <ac:chgData name="Tường SKHĐT" userId="ab9568c39a88b08a" providerId="LiveId" clId="{D0D0D6DB-4B24-4E2C-A5FA-2AD6DFFBD362}" dt="2023-01-30T04:07:07.596" v="3307" actId="21"/>
          <ac:spMkLst>
            <pc:docMk/>
            <pc:sldMk cId="2589014937" sldId="2147473526"/>
            <ac:spMk id="21" creationId="{DB86A138-8FAA-DC9A-E4E5-D0201E9F33BD}"/>
          </ac:spMkLst>
        </pc:spChg>
        <pc:spChg chg="del">
          <ac:chgData name="Tường SKHĐT" userId="ab9568c39a88b08a" providerId="LiveId" clId="{D0D0D6DB-4B24-4E2C-A5FA-2AD6DFFBD362}" dt="2023-01-30T04:07:05.305" v="3306" actId="478"/>
          <ac:spMkLst>
            <pc:docMk/>
            <pc:sldMk cId="2589014937" sldId="2147473526"/>
            <ac:spMk id="23" creationId="{2C410BCD-44ED-2F04-13B7-1F1D0344027A}"/>
          </ac:spMkLst>
        </pc:spChg>
        <pc:spChg chg="mod">
          <ac:chgData name="Tường SKHĐT" userId="ab9568c39a88b08a" providerId="LiveId" clId="{D0D0D6DB-4B24-4E2C-A5FA-2AD6DFFBD362}" dt="2023-01-30T04:07:15.522" v="3335" actId="1038"/>
          <ac:spMkLst>
            <pc:docMk/>
            <pc:sldMk cId="2589014937" sldId="2147473526"/>
            <ac:spMk id="27" creationId="{A7706305-8775-399E-5BBA-BC4870FA15F6}"/>
          </ac:spMkLst>
        </pc:spChg>
        <pc:spChg chg="del">
          <ac:chgData name="Tường SKHĐT" userId="ab9568c39a88b08a" providerId="LiveId" clId="{D0D0D6DB-4B24-4E2C-A5FA-2AD6DFFBD362}" dt="2023-01-30T04:07:05.305" v="3306" actId="478"/>
          <ac:spMkLst>
            <pc:docMk/>
            <pc:sldMk cId="2589014937" sldId="2147473526"/>
            <ac:spMk id="28" creationId="{8946C639-9DC6-5196-2AA2-DB262D9D7956}"/>
          </ac:spMkLst>
        </pc:spChg>
        <pc:spChg chg="del">
          <ac:chgData name="Tường SKHĐT" userId="ab9568c39a88b08a" providerId="LiveId" clId="{D0D0D6DB-4B24-4E2C-A5FA-2AD6DFFBD362}" dt="2023-01-30T04:07:05.305" v="3306" actId="478"/>
          <ac:spMkLst>
            <pc:docMk/>
            <pc:sldMk cId="2589014937" sldId="2147473526"/>
            <ac:spMk id="29" creationId="{A9E1B5E8-BCD1-65B2-847C-B9EDD3690824}"/>
          </ac:spMkLst>
        </pc:spChg>
        <pc:spChg chg="del">
          <ac:chgData name="Tường SKHĐT" userId="ab9568c39a88b08a" providerId="LiveId" clId="{D0D0D6DB-4B24-4E2C-A5FA-2AD6DFFBD362}" dt="2023-01-30T04:07:05.305" v="3306" actId="478"/>
          <ac:spMkLst>
            <pc:docMk/>
            <pc:sldMk cId="2589014937" sldId="2147473526"/>
            <ac:spMk id="30" creationId="{8404DD39-B4ED-5DE5-6633-E77A35E3B5D9}"/>
          </ac:spMkLst>
        </pc:spChg>
        <pc:spChg chg="mod">
          <ac:chgData name="Tường SKHĐT" userId="ab9568c39a88b08a" providerId="LiveId" clId="{D0D0D6DB-4B24-4E2C-A5FA-2AD6DFFBD362}" dt="2023-01-30T04:07:15.522" v="3335" actId="1038"/>
          <ac:spMkLst>
            <pc:docMk/>
            <pc:sldMk cId="2589014937" sldId="2147473526"/>
            <ac:spMk id="718" creationId="{00000000-0000-0000-0000-000000000000}"/>
          </ac:spMkLst>
        </pc:spChg>
        <pc:spChg chg="mod">
          <ac:chgData name="Tường SKHĐT" userId="ab9568c39a88b08a" providerId="LiveId" clId="{D0D0D6DB-4B24-4E2C-A5FA-2AD6DFFBD362}" dt="2023-01-30T04:07:15.522" v="3335" actId="1038"/>
          <ac:spMkLst>
            <pc:docMk/>
            <pc:sldMk cId="2589014937" sldId="2147473526"/>
            <ac:spMk id="719" creationId="{00000000-0000-0000-0000-000000000000}"/>
          </ac:spMkLst>
        </pc:spChg>
        <pc:spChg chg="mod">
          <ac:chgData name="Tường SKHĐT" userId="ab9568c39a88b08a" providerId="LiveId" clId="{D0D0D6DB-4B24-4E2C-A5FA-2AD6DFFBD362}" dt="2023-01-30T04:07:15.522" v="3335" actId="1038"/>
          <ac:spMkLst>
            <pc:docMk/>
            <pc:sldMk cId="2589014937" sldId="2147473526"/>
            <ac:spMk id="720" creationId="{00000000-0000-0000-0000-000000000000}"/>
          </ac:spMkLst>
        </pc:spChg>
        <pc:spChg chg="mod">
          <ac:chgData name="Tường SKHĐT" userId="ab9568c39a88b08a" providerId="LiveId" clId="{D0D0D6DB-4B24-4E2C-A5FA-2AD6DFFBD362}" dt="2023-01-30T04:07:15.522" v="3335" actId="1038"/>
          <ac:spMkLst>
            <pc:docMk/>
            <pc:sldMk cId="2589014937" sldId="2147473526"/>
            <ac:spMk id="724" creationId="{00000000-0000-0000-0000-000000000000}"/>
          </ac:spMkLst>
        </pc:spChg>
        <pc:spChg chg="mod">
          <ac:chgData name="Tường SKHĐT" userId="ab9568c39a88b08a" providerId="LiveId" clId="{D0D0D6DB-4B24-4E2C-A5FA-2AD6DFFBD362}" dt="2023-01-30T04:07:15.522" v="3335" actId="1038"/>
          <ac:spMkLst>
            <pc:docMk/>
            <pc:sldMk cId="2589014937" sldId="2147473526"/>
            <ac:spMk id="725" creationId="{00000000-0000-0000-0000-000000000000}"/>
          </ac:spMkLst>
        </pc:spChg>
        <pc:spChg chg="mod">
          <ac:chgData name="Tường SKHĐT" userId="ab9568c39a88b08a" providerId="LiveId" clId="{D0D0D6DB-4B24-4E2C-A5FA-2AD6DFFBD362}" dt="2023-01-30T04:07:15.522" v="3335" actId="1038"/>
          <ac:spMkLst>
            <pc:docMk/>
            <pc:sldMk cId="2589014937" sldId="2147473526"/>
            <ac:spMk id="726" creationId="{00000000-0000-0000-0000-000000000000}"/>
          </ac:spMkLst>
        </pc:spChg>
        <pc:spChg chg="mod">
          <ac:chgData name="Tường SKHĐT" userId="ab9568c39a88b08a" providerId="LiveId" clId="{D0D0D6DB-4B24-4E2C-A5FA-2AD6DFFBD362}" dt="2023-01-30T04:07:15.522" v="3335" actId="1038"/>
          <ac:spMkLst>
            <pc:docMk/>
            <pc:sldMk cId="2589014937" sldId="2147473526"/>
            <ac:spMk id="730" creationId="{76FC2223-CBDC-4B1C-A8C6-0DBB61B65684}"/>
          </ac:spMkLst>
        </pc:spChg>
        <pc:picChg chg="mod">
          <ac:chgData name="Tường SKHĐT" userId="ab9568c39a88b08a" providerId="LiveId" clId="{D0D0D6DB-4B24-4E2C-A5FA-2AD6DFFBD362}" dt="2023-01-30T04:07:15.522" v="3335" actId="1038"/>
          <ac:picMkLst>
            <pc:docMk/>
            <pc:sldMk cId="2589014937" sldId="2147473526"/>
            <ac:picMk id="4" creationId="{E24D9673-F5A5-66B1-2863-903204BC6ED7}"/>
          </ac:picMkLst>
        </pc:picChg>
        <pc:cxnChg chg="mod">
          <ac:chgData name="Tường SKHĐT" userId="ab9568c39a88b08a" providerId="LiveId" clId="{D0D0D6DB-4B24-4E2C-A5FA-2AD6DFFBD362}" dt="2023-01-30T04:07:15.522" v="3335" actId="1038"/>
          <ac:cxnSpMkLst>
            <pc:docMk/>
            <pc:sldMk cId="2589014937" sldId="2147473526"/>
            <ac:cxnSpMk id="22" creationId="{76FB1604-8EE6-1B4A-8BEC-955916948809}"/>
          </ac:cxnSpMkLst>
        </pc:cxnChg>
        <pc:cxnChg chg="mod">
          <ac:chgData name="Tường SKHĐT" userId="ab9568c39a88b08a" providerId="LiveId" clId="{D0D0D6DB-4B24-4E2C-A5FA-2AD6DFFBD362}" dt="2023-01-30T04:07:15.522" v="3335" actId="1038"/>
          <ac:cxnSpMkLst>
            <pc:docMk/>
            <pc:sldMk cId="2589014937" sldId="2147473526"/>
            <ac:cxnSpMk id="24" creationId="{4E2C09AD-1B29-015F-4185-E01171AA1855}"/>
          </ac:cxnSpMkLst>
        </pc:cxnChg>
        <pc:cxnChg chg="mod">
          <ac:chgData name="Tường SKHĐT" userId="ab9568c39a88b08a" providerId="LiveId" clId="{D0D0D6DB-4B24-4E2C-A5FA-2AD6DFFBD362}" dt="2023-01-30T04:07:15.522" v="3335" actId="1038"/>
          <ac:cxnSpMkLst>
            <pc:docMk/>
            <pc:sldMk cId="2589014937" sldId="2147473526"/>
            <ac:cxnSpMk id="26" creationId="{169C6F43-6D5B-95B4-AB42-3B41CFB5B6B7}"/>
          </ac:cxnSpMkLst>
        </pc:cxnChg>
        <pc:cxnChg chg="del">
          <ac:chgData name="Tường SKHĐT" userId="ab9568c39a88b08a" providerId="LiveId" clId="{D0D0D6DB-4B24-4E2C-A5FA-2AD6DFFBD362}" dt="2023-01-30T04:06:58.165" v="3302" actId="21"/>
          <ac:cxnSpMkLst>
            <pc:docMk/>
            <pc:sldMk cId="2589014937" sldId="2147473526"/>
            <ac:cxnSpMk id="704" creationId="{B2E73FDC-80CC-045D-9CBB-ED2B8B320386}"/>
          </ac:cxnSpMkLst>
        </pc:cxnChg>
        <pc:cxnChg chg="del">
          <ac:chgData name="Tường SKHĐT" userId="ab9568c39a88b08a" providerId="LiveId" clId="{D0D0D6DB-4B24-4E2C-A5FA-2AD6DFFBD362}" dt="2023-01-30T04:07:00.233" v="3303" actId="21"/>
          <ac:cxnSpMkLst>
            <pc:docMk/>
            <pc:sldMk cId="2589014937" sldId="2147473526"/>
            <ac:cxnSpMk id="706" creationId="{3E874B3D-560B-A7F1-5D1A-CC4CFD0FF8E7}"/>
          </ac:cxnSpMkLst>
        </pc:cxnChg>
      </pc:sldChg>
      <pc:sldChg chg="addSp delSp modSp add mod">
        <pc:chgData name="Tường SKHĐT" userId="ab9568c39a88b08a" providerId="LiveId" clId="{D0D0D6DB-4B24-4E2C-A5FA-2AD6DFFBD362}" dt="2023-01-30T03:24:56.306" v="2324" actId="122"/>
        <pc:sldMkLst>
          <pc:docMk/>
          <pc:sldMk cId="94820056" sldId="2147473527"/>
        </pc:sldMkLst>
        <pc:spChg chg="mod">
          <ac:chgData name="Tường SKHĐT" userId="ab9568c39a88b08a" providerId="LiveId" clId="{D0D0D6DB-4B24-4E2C-A5FA-2AD6DFFBD362}" dt="2023-01-30T03:21:09.102" v="2107" actId="20577"/>
          <ac:spMkLst>
            <pc:docMk/>
            <pc:sldMk cId="94820056" sldId="2147473527"/>
            <ac:spMk id="4" creationId="{16D24723-A233-03FF-2329-1817AB93339D}"/>
          </ac:spMkLst>
        </pc:spChg>
        <pc:spChg chg="del">
          <ac:chgData name="Tường SKHĐT" userId="ab9568c39a88b08a" providerId="LiveId" clId="{D0D0D6DB-4B24-4E2C-A5FA-2AD6DFFBD362}" dt="2023-01-30T03:21:19.281" v="2109" actId="21"/>
          <ac:spMkLst>
            <pc:docMk/>
            <pc:sldMk cId="94820056" sldId="2147473527"/>
            <ac:spMk id="25" creationId="{01DC26C3-E6F4-C27A-8624-3A65D81B6008}"/>
          </ac:spMkLst>
        </pc:spChg>
        <pc:graphicFrameChg chg="mod modGraphic">
          <ac:chgData name="Tường SKHĐT" userId="ab9568c39a88b08a" providerId="LiveId" clId="{D0D0D6DB-4B24-4E2C-A5FA-2AD6DFFBD362}" dt="2023-01-30T03:24:56.306" v="2324" actId="122"/>
          <ac:graphicFrameMkLst>
            <pc:docMk/>
            <pc:sldMk cId="94820056" sldId="2147473527"/>
            <ac:graphicFrameMk id="16" creationId="{96106477-7139-C645-519F-D1F6E546C671}"/>
          </ac:graphicFrameMkLst>
        </pc:graphicFrameChg>
        <pc:graphicFrameChg chg="mod">
          <ac:chgData name="Tường SKHĐT" userId="ab9568c39a88b08a" providerId="LiveId" clId="{D0D0D6DB-4B24-4E2C-A5FA-2AD6DFFBD362}" dt="2023-01-30T03:21:26.932" v="2145" actId="1035"/>
          <ac:graphicFrameMkLst>
            <pc:docMk/>
            <pc:sldMk cId="94820056" sldId="2147473527"/>
            <ac:graphicFrameMk id="17" creationId="{6ACB9F06-6816-8FE7-4017-BFE988A0D72D}"/>
          </ac:graphicFrameMkLst>
        </pc:graphicFrameChg>
        <pc:picChg chg="mod">
          <ac:chgData name="Tường SKHĐT" userId="ab9568c39a88b08a" providerId="LiveId" clId="{D0D0D6DB-4B24-4E2C-A5FA-2AD6DFFBD362}" dt="2023-01-30T03:21:32.013" v="2154" actId="1035"/>
          <ac:picMkLst>
            <pc:docMk/>
            <pc:sldMk cId="94820056" sldId="2147473527"/>
            <ac:picMk id="5" creationId="{5DBBE98A-EE15-AE36-1046-6258333079A2}"/>
          </ac:picMkLst>
        </pc:picChg>
        <pc:picChg chg="mod">
          <ac:chgData name="Tường SKHĐT" userId="ab9568c39a88b08a" providerId="LiveId" clId="{D0D0D6DB-4B24-4E2C-A5FA-2AD6DFFBD362}" dt="2023-01-30T03:21:23.067" v="2129" actId="1035"/>
          <ac:picMkLst>
            <pc:docMk/>
            <pc:sldMk cId="94820056" sldId="2147473527"/>
            <ac:picMk id="7" creationId="{9CB97605-37F2-6C63-31D2-6858CA2546B6}"/>
          </ac:picMkLst>
        </pc:picChg>
        <pc:picChg chg="add mod">
          <ac:chgData name="Tường SKHĐT" userId="ab9568c39a88b08a" providerId="LiveId" clId="{D0D0D6DB-4B24-4E2C-A5FA-2AD6DFFBD362}" dt="2023-01-30T03:22:42.439" v="2164" actId="1076"/>
          <ac:picMkLst>
            <pc:docMk/>
            <pc:sldMk cId="94820056" sldId="2147473527"/>
            <ac:picMk id="8" creationId="{990C0A75-F310-FDC6-52FF-48B30F97CF8B}"/>
          </ac:picMkLst>
        </pc:picChg>
        <pc:picChg chg="mod">
          <ac:chgData name="Tường SKHĐT" userId="ab9568c39a88b08a" providerId="LiveId" clId="{D0D0D6DB-4B24-4E2C-A5FA-2AD6DFFBD362}" dt="2023-01-30T03:21:31.117" v="2151" actId="1035"/>
          <ac:picMkLst>
            <pc:docMk/>
            <pc:sldMk cId="94820056" sldId="2147473527"/>
            <ac:picMk id="9" creationId="{F98B4008-DD0B-FC9A-4B9B-EC0A6F0BC1E8}"/>
          </ac:picMkLst>
        </pc:picChg>
        <pc:cxnChg chg="mod">
          <ac:chgData name="Tường SKHĐT" userId="ab9568c39a88b08a" providerId="LiveId" clId="{D0D0D6DB-4B24-4E2C-A5FA-2AD6DFFBD362}" dt="2023-01-30T03:21:13.736" v="2108" actId="14100"/>
          <ac:cxnSpMkLst>
            <pc:docMk/>
            <pc:sldMk cId="94820056" sldId="2147473527"/>
            <ac:cxnSpMk id="6" creationId="{FF705920-E1B4-B4D0-9EA4-A27AA5761577}"/>
          </ac:cxnSpMkLst>
        </pc:cxnChg>
      </pc:sldChg>
      <pc:sldChg chg="modSp add mod">
        <pc:chgData name="Tường SKHĐT" userId="ab9568c39a88b08a" providerId="LiveId" clId="{D0D0D6DB-4B24-4E2C-A5FA-2AD6DFFBD362}" dt="2023-01-30T03:54:51.255" v="3101" actId="403"/>
        <pc:sldMkLst>
          <pc:docMk/>
          <pc:sldMk cId="269414345" sldId="2147473528"/>
        </pc:sldMkLst>
        <pc:spChg chg="mod">
          <ac:chgData name="Tường SKHĐT" userId="ab9568c39a88b08a" providerId="LiveId" clId="{D0D0D6DB-4B24-4E2C-A5FA-2AD6DFFBD362}" dt="2023-01-30T03:54:44.876" v="3100" actId="20577"/>
          <ac:spMkLst>
            <pc:docMk/>
            <pc:sldMk cId="269414345" sldId="2147473528"/>
            <ac:spMk id="25" creationId="{01DC26C3-E6F4-C27A-8624-3A65D81B6008}"/>
          </ac:spMkLst>
        </pc:spChg>
        <pc:graphicFrameChg chg="mod modGraphic">
          <ac:chgData name="Tường SKHĐT" userId="ab9568c39a88b08a" providerId="LiveId" clId="{D0D0D6DB-4B24-4E2C-A5FA-2AD6DFFBD362}" dt="2023-01-30T03:54:51.255" v="3101" actId="403"/>
          <ac:graphicFrameMkLst>
            <pc:docMk/>
            <pc:sldMk cId="269414345" sldId="2147473528"/>
            <ac:graphicFrameMk id="8" creationId="{B5E5335D-2EED-82AF-3A59-FAE8BB94EAE1}"/>
          </ac:graphicFrameMkLst>
        </pc:graphicFrameChg>
      </pc:sldChg>
      <pc:sldChg chg="add del">
        <pc:chgData name="Tường SKHĐT" userId="ab9568c39a88b08a" providerId="LiveId" clId="{D0D0D6DB-4B24-4E2C-A5FA-2AD6DFFBD362}" dt="2023-01-30T03:49:44.040" v="2970" actId="2696"/>
        <pc:sldMkLst>
          <pc:docMk/>
          <pc:sldMk cId="769350960" sldId="2147473528"/>
        </pc:sldMkLst>
      </pc:sldChg>
      <pc:sldChg chg="add del">
        <pc:chgData name="Tường SKHĐT" userId="ab9568c39a88b08a" providerId="LiveId" clId="{D0D0D6DB-4B24-4E2C-A5FA-2AD6DFFBD362}" dt="2023-01-30T04:20:27.473" v="4010" actId="2696"/>
        <pc:sldMkLst>
          <pc:docMk/>
          <pc:sldMk cId="3351541688" sldId="2147473529"/>
        </pc:sldMkLst>
      </pc:sldChg>
      <pc:sldChg chg="add del">
        <pc:chgData name="Tường SKHĐT" userId="ab9568c39a88b08a" providerId="LiveId" clId="{D0D0D6DB-4B24-4E2C-A5FA-2AD6DFFBD362}" dt="2023-01-30T04:20:30.989" v="4011" actId="2696"/>
        <pc:sldMkLst>
          <pc:docMk/>
          <pc:sldMk cId="235465983" sldId="2147473530"/>
        </pc:sldMkLst>
      </pc:sldChg>
      <pc:sldMasterChg chg="delSldLayout">
        <pc:chgData name="Tường SKHĐT" userId="ab9568c39a88b08a" providerId="LiveId" clId="{D0D0D6DB-4B24-4E2C-A5FA-2AD6DFFBD362}" dt="2023-01-30T02:30:37.836" v="316" actId="2696"/>
        <pc:sldMasterMkLst>
          <pc:docMk/>
          <pc:sldMasterMk cId="2184812212" sldId="2147483912"/>
        </pc:sldMasterMkLst>
        <pc:sldLayoutChg chg="del">
          <pc:chgData name="Tường SKHĐT" userId="ab9568c39a88b08a" providerId="LiveId" clId="{D0D0D6DB-4B24-4E2C-A5FA-2AD6DFFBD362}" dt="2023-01-30T02:30:37.836" v="316" actId="2696"/>
          <pc:sldLayoutMkLst>
            <pc:docMk/>
            <pc:sldMasterMk cId="2184812212" sldId="2147483912"/>
            <pc:sldLayoutMk cId="3448674817" sldId="2147483929"/>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oleObject" Target="https://d.docs.live.net/ab9568c39a88b08a/TUONG%20TH/03%20-%20B&#193;O%20C&#193;O%20KTXH%20-%20&#272;TPT/B&#225;o%20c&#225;o%20KTXH%202023/Th&#225;ng%2002/DKKD/&#272;KKD%20thang%201%20v&#224;%20th&#225;ng%202.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https://d.docs.live.net/ab9568c39a88b08a/TUONG%20TH/03%20-%20B&#193;O%20C&#193;O%20KTXH%20-%20&#272;TPT/B&#225;o%20c&#225;o%20KTXH%202023/Th&#225;ng%2002/DKKD/&#272;KKD%20thang%201%20v&#224;%20th&#225;ng%202.xls"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https://d.docs.live.net/ab9568c39a88b08a/TUONG%20TH/03%20-%20B&#193;O%20C&#193;O%20KTXH%20-%20&#272;TPT/B&#225;o%20c&#225;o%20KTXH%202023/Th&#225;ng%2002/DKKD/&#272;KKD%20thang%201%20v&#224;%20th&#225;ng%202.xls"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a:latin typeface="Times New Roman" panose="02020603050405020304" pitchFamily="18" charset="0"/>
                <a:cs typeface="Times New Roman" panose="02020603050405020304" pitchFamily="18" charset="0"/>
              </a:rPr>
              <a:t>Quy mô </a:t>
            </a:r>
            <a:r>
              <a:rPr lang="vi-VN" sz="1600">
                <a:latin typeface="Times New Roman" panose="02020603050405020304" pitchFamily="18" charset="0"/>
                <a:cs typeface="Times New Roman" panose="02020603050405020304" pitchFamily="18" charset="0"/>
              </a:rPr>
              <a:t>DN thành</a:t>
            </a:r>
            <a:r>
              <a:rPr lang="vi-VN" sz="1600" baseline="0">
                <a:latin typeface="Times New Roman" panose="02020603050405020304" pitchFamily="18" charset="0"/>
                <a:cs typeface="Times New Roman" panose="02020603050405020304" pitchFamily="18" charset="0"/>
              </a:rPr>
              <a:t> lập mới</a:t>
            </a:r>
            <a:r>
              <a:rPr lang="vi-VN" sz="1600">
                <a:latin typeface="Times New Roman" panose="02020603050405020304" pitchFamily="18" charset="0"/>
                <a:cs typeface="Times New Roman" panose="02020603050405020304" pitchFamily="18" charset="0"/>
              </a:rPr>
              <a:t> từ</a:t>
            </a:r>
            <a:r>
              <a:rPr lang="vi-VN" sz="1600" baseline="0">
                <a:latin typeface="Times New Roman" panose="02020603050405020304" pitchFamily="18" charset="0"/>
                <a:cs typeface="Times New Roman" panose="02020603050405020304" pitchFamily="18" charset="0"/>
              </a:rPr>
              <a:t> 01/01 - 28/02</a:t>
            </a:r>
            <a:endParaRPr lang="en-US" sz="1600">
              <a:latin typeface="Times New Roman" panose="02020603050405020304" pitchFamily="18" charset="0"/>
              <a:cs typeface="Times New Roman" panose="02020603050405020304" pitchFamily="18" charset="0"/>
            </a:endParaRPr>
          </a:p>
        </c:rich>
      </c:tx>
      <c:layout>
        <c:manualLayout>
          <c:xMode val="edge"/>
          <c:yMode val="edge"/>
          <c:x val="0.12543239795483951"/>
          <c:y val="2.3208267909909687E-2"/>
        </c:manualLayout>
      </c:layout>
      <c:overlay val="0"/>
      <c:spPr>
        <a:noFill/>
        <a:ln>
          <a:noFill/>
        </a:ln>
        <a:effectLst/>
      </c:spPr>
    </c:title>
    <c:autoTitleDeleted val="0"/>
    <c:plotArea>
      <c:layout/>
      <c:barChart>
        <c:barDir val="col"/>
        <c:grouping val="clustered"/>
        <c:varyColors val="0"/>
        <c:ser>
          <c:idx val="0"/>
          <c:order val="0"/>
          <c:tx>
            <c:strRef>
              <c:f>'[ĐKKD thang 1 và tháng 2.xls]Sheet3'!$C$4</c:f>
              <c:strCache>
                <c:ptCount val="1"/>
                <c:pt idx="0">
                  <c:v>Quy mô doanh nghiệp từ 01/01 - 28/0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ĐKKD thang 1 và tháng 2.xls]Sheet3'!$B$5:$B$8</c:f>
              <c:strCache>
                <c:ptCount val="4"/>
                <c:pt idx="0">
                  <c:v>Dưới 01 tỷ</c:v>
                </c:pt>
                <c:pt idx="1">
                  <c:v>Từ 01 tỷ đến 10 tỷ</c:v>
                </c:pt>
                <c:pt idx="2">
                  <c:v>Từ 10 tỷ đến 100 tỷ</c:v>
                </c:pt>
                <c:pt idx="3">
                  <c:v>Trên 100 tỷ</c:v>
                </c:pt>
              </c:strCache>
            </c:strRef>
          </c:cat>
          <c:val>
            <c:numRef>
              <c:f>'[ĐKKD thang 1 và tháng 2.xls]Sheet3'!$C$5:$C$8</c:f>
              <c:numCache>
                <c:formatCode>General</c:formatCode>
                <c:ptCount val="4"/>
                <c:pt idx="0">
                  <c:v>36</c:v>
                </c:pt>
                <c:pt idx="1">
                  <c:v>117</c:v>
                </c:pt>
                <c:pt idx="2">
                  <c:v>12</c:v>
                </c:pt>
                <c:pt idx="3">
                  <c:v>3</c:v>
                </c:pt>
              </c:numCache>
            </c:numRef>
          </c:val>
          <c:extLst>
            <c:ext xmlns:c16="http://schemas.microsoft.com/office/drawing/2014/chart" uri="{C3380CC4-5D6E-409C-BE32-E72D297353CC}">
              <c16:uniqueId val="{00000000-EE12-4C51-B6F1-7520D1523FC2}"/>
            </c:ext>
          </c:extLst>
        </c:ser>
        <c:dLbls>
          <c:showLegendKey val="0"/>
          <c:showVal val="0"/>
          <c:showCatName val="0"/>
          <c:showSerName val="0"/>
          <c:showPercent val="0"/>
          <c:showBubbleSize val="0"/>
        </c:dLbls>
        <c:gapWidth val="219"/>
        <c:overlap val="-27"/>
        <c:axId val="1659684191"/>
        <c:axId val="1"/>
      </c:barChart>
      <c:catAx>
        <c:axId val="16596841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vi-VN"/>
          </a:p>
        </c:txPr>
        <c:crossAx val="1"/>
        <c:crosses val="autoZero"/>
        <c:auto val="1"/>
        <c:lblAlgn val="ctr"/>
        <c:lblOffset val="100"/>
        <c:noMultiLvlLbl val="0"/>
      </c:catAx>
      <c:valAx>
        <c:axId val="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vi-VN"/>
          </a:p>
        </c:txPr>
        <c:crossAx val="1659684191"/>
        <c:crosses val="autoZero"/>
        <c:crossBetween val="between"/>
      </c:valAx>
      <c:spPr>
        <a:noFill/>
        <a:ln w="25400">
          <a:noFill/>
        </a:ln>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vi-V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w="25400">
          <a:noFill/>
        </a:ln>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vi-VN"/>
        </a:p>
      </c:txPr>
    </c:title>
    <c:autoTitleDeleted val="0"/>
    <c:plotArea>
      <c:layout/>
      <c:pieChart>
        <c:varyColors val="1"/>
        <c:ser>
          <c:idx val="0"/>
          <c:order val="0"/>
          <c:tx>
            <c:strRef>
              <c:f>'[ĐKKD thang 1 và tháng 2.xls]Tổng hợp tháng 1'!$AF$13</c:f>
              <c:strCache>
                <c:ptCount val="1"/>
                <c:pt idx="0">
                  <c:v>Số lượng</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3A2-4A5B-88E2-A4C3D87EDB4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3A2-4A5B-88E2-A4C3D87EDB4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73A2-4A5B-88E2-A4C3D87EDB4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73A2-4A5B-88E2-A4C3D87EDB49}"/>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73A2-4A5B-88E2-A4C3D87EDB49}"/>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73A2-4A5B-88E2-A4C3D87EDB49}"/>
              </c:ext>
            </c:extLst>
          </c:dPt>
          <c:dLbls>
            <c:dLbl>
              <c:idx val="0"/>
              <c:layout>
                <c:manualLayout>
                  <c:x val="-3.1175755600780113E-2"/>
                  <c:y val="1.2254697235132391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3A2-4A5B-88E2-A4C3D87EDB49}"/>
                </c:ext>
              </c:extLst>
            </c:dLbl>
            <c:dLbl>
              <c:idx val="2"/>
              <c:layout>
                <c:manualLayout>
                  <c:x val="7.0511193784553132E-5"/>
                  <c:y val="-6.7295483081357008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3A2-4A5B-88E2-A4C3D87EDB49}"/>
                </c:ext>
              </c:extLst>
            </c:dLbl>
            <c:dLbl>
              <c:idx val="3"/>
              <c:layout>
                <c:manualLayout>
                  <c:x val="1.1182916286424599E-2"/>
                  <c:y val="-3.1973302923504462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3A2-4A5B-88E2-A4C3D87EDB49}"/>
                </c:ext>
              </c:extLst>
            </c:dLbl>
            <c:dLbl>
              <c:idx val="4"/>
              <c:layout>
                <c:manualLayout>
                  <c:x val="-5.4446216747521856E-2"/>
                  <c:y val="-0.10240828917460755"/>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3A2-4A5B-88E2-A4C3D87EDB49}"/>
                </c:ext>
              </c:extLst>
            </c:dLbl>
            <c:dLbl>
              <c:idx val="5"/>
              <c:layout>
                <c:manualLayout>
                  <c:x val="-2.5882379553096854E-2"/>
                  <c:y val="8.6649401245565208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3A2-4A5B-88E2-A4C3D87EDB49}"/>
                </c:ext>
              </c:extLst>
            </c:dLbl>
            <c:dLbl>
              <c:idx val="6"/>
              <c:layout>
                <c:manualLayout>
                  <c:x val="1.8386809918079776E-3"/>
                  <c:y val="2.677019124825272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73A2-4A5B-88E2-A4C3D87EDB49}"/>
                </c:ext>
              </c:extLst>
            </c:dLbl>
            <c:spPr>
              <a:noFill/>
              <a:ln w="25400">
                <a:noFill/>
              </a:ln>
            </c:spPr>
            <c:txPr>
              <a:bodyPr rot="0" spcFirstLastPara="1" vertOverflow="ellipsis" vert="horz" wrap="square" lIns="38100" tIns="19050" rIns="38100" bIns="19050" anchor="ctr" anchorCtr="1">
                <a:spAutoFit/>
              </a:bodyPr>
              <a:lstStyle/>
              <a:p>
                <a:pPr>
                  <a:defRPr sz="28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vi-VN"/>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ĐKKD thang 1 và tháng 2.xls]Tổng hợp tháng 1'!$AE$14:$AE$20</c:f>
              <c:strCache>
                <c:ptCount val="7"/>
                <c:pt idx="0">
                  <c:v>Công nghiệp</c:v>
                </c:pt>
                <c:pt idx="1">
                  <c:v>Nông nghiệp</c:v>
                </c:pt>
                <c:pt idx="2">
                  <c:v>Xây dựng</c:v>
                </c:pt>
                <c:pt idx="3">
                  <c:v>Vận tải</c:v>
                </c:pt>
                <c:pt idx="4">
                  <c:v>Thương mại</c:v>
                </c:pt>
                <c:pt idx="5">
                  <c:v>Dịch vụ</c:v>
                </c:pt>
                <c:pt idx="6">
                  <c:v>Bất động sản</c:v>
                </c:pt>
              </c:strCache>
            </c:strRef>
          </c:cat>
          <c:val>
            <c:numRef>
              <c:f>'[ĐKKD thang 1 và tháng 2.xls]Tổng hợp tháng 1'!$AF$14:$AF$20</c:f>
              <c:numCache>
                <c:formatCode>General</c:formatCode>
                <c:ptCount val="7"/>
                <c:pt idx="0">
                  <c:v>22</c:v>
                </c:pt>
                <c:pt idx="1">
                  <c:v>6</c:v>
                </c:pt>
                <c:pt idx="2">
                  <c:v>42</c:v>
                </c:pt>
                <c:pt idx="3">
                  <c:v>8</c:v>
                </c:pt>
                <c:pt idx="4">
                  <c:v>46</c:v>
                </c:pt>
                <c:pt idx="5">
                  <c:v>38</c:v>
                </c:pt>
                <c:pt idx="6">
                  <c:v>6</c:v>
                </c:pt>
              </c:numCache>
            </c:numRef>
          </c:val>
          <c:extLst>
            <c:ext xmlns:c16="http://schemas.microsoft.com/office/drawing/2014/chart" uri="{C3380CC4-5D6E-409C-BE32-E72D297353CC}">
              <c16:uniqueId val="{0000000C-73A2-4A5B-88E2-A4C3D87EDB49}"/>
            </c:ext>
          </c:extLst>
        </c:ser>
        <c:ser>
          <c:idx val="1"/>
          <c:order val="1"/>
          <c:tx>
            <c:strRef>
              <c:f>'[ĐKKD thang 1 và tháng 2.xls]Tổng hợp tháng 1'!$AG$13</c:f>
              <c:strCache>
                <c:ptCount val="1"/>
                <c:pt idx="0">
                  <c:v>tỷ trọng (%)</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E-73A2-4A5B-88E2-A4C3D87EDB4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10-73A2-4A5B-88E2-A4C3D87EDB4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12-73A2-4A5B-88E2-A4C3D87EDB4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14-73A2-4A5B-88E2-A4C3D87EDB49}"/>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16-73A2-4A5B-88E2-A4C3D87EDB49}"/>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18-73A2-4A5B-88E2-A4C3D87EDB49}"/>
              </c:ext>
            </c:extLst>
          </c:dPt>
          <c:dLbls>
            <c:spPr>
              <a:noFill/>
              <a:ln w="25400">
                <a:noFill/>
              </a:ln>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vi-VN"/>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ĐKKD thang 1 và tháng 2.xls]Tổng hợp tháng 1'!$AE$14:$AE$20</c:f>
              <c:strCache>
                <c:ptCount val="7"/>
                <c:pt idx="0">
                  <c:v>Công nghiệp</c:v>
                </c:pt>
                <c:pt idx="1">
                  <c:v>Nông nghiệp</c:v>
                </c:pt>
                <c:pt idx="2">
                  <c:v>Xây dựng</c:v>
                </c:pt>
                <c:pt idx="3">
                  <c:v>Vận tải</c:v>
                </c:pt>
                <c:pt idx="4">
                  <c:v>Thương mại</c:v>
                </c:pt>
                <c:pt idx="5">
                  <c:v>Dịch vụ</c:v>
                </c:pt>
                <c:pt idx="6">
                  <c:v>Bất động sản</c:v>
                </c:pt>
              </c:strCache>
            </c:strRef>
          </c:cat>
          <c:val>
            <c:numRef>
              <c:f>'[ĐKKD thang 1 và tháng 2.xls]Tổng hợp tháng 1'!$AG$14:$AG$20</c:f>
              <c:numCache>
                <c:formatCode>0.00%</c:formatCode>
                <c:ptCount val="7"/>
                <c:pt idx="0">
                  <c:v>0.13095238095238096</c:v>
                </c:pt>
                <c:pt idx="1">
                  <c:v>3.5714285714285712E-2</c:v>
                </c:pt>
                <c:pt idx="2">
                  <c:v>0.25</c:v>
                </c:pt>
                <c:pt idx="3">
                  <c:v>4.7619047619047616E-2</c:v>
                </c:pt>
                <c:pt idx="4">
                  <c:v>0.27380952380952384</c:v>
                </c:pt>
                <c:pt idx="5">
                  <c:v>0.22619047619047619</c:v>
                </c:pt>
                <c:pt idx="6">
                  <c:v>3.5714285714285712E-2</c:v>
                </c:pt>
              </c:numCache>
            </c:numRef>
          </c:val>
          <c:extLst>
            <c:ext xmlns:c16="http://schemas.microsoft.com/office/drawing/2014/chart" uri="{C3380CC4-5D6E-409C-BE32-E72D297353CC}">
              <c16:uniqueId val="{00000019-73A2-4A5B-88E2-A4C3D87EDB49}"/>
            </c:ext>
          </c:extLst>
        </c:ser>
        <c:dLbls>
          <c:showLegendKey val="0"/>
          <c:showVal val="0"/>
          <c:showCatName val="0"/>
          <c:showSerName val="0"/>
          <c:showPercent val="0"/>
          <c:showBubbleSize val="0"/>
          <c:showLeaderLines val="1"/>
        </c:dLbls>
        <c:firstSliceAng val="0"/>
      </c:pieChart>
      <c:spPr>
        <a:noFill/>
        <a:ln w="25400">
          <a:noFill/>
        </a:ln>
      </c:spPr>
    </c:plotArea>
    <c:legend>
      <c:legendPos val="b"/>
      <c:overlay val="0"/>
      <c:spPr>
        <a:noFill/>
        <a:ln w="25400">
          <a:noFill/>
        </a:ln>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vi-VN"/>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vi-VN"/>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latin typeface="Times New Roman" panose="02020603050405020304" pitchFamily="18" charset="0"/>
                <a:cs typeface="Times New Roman" panose="02020603050405020304" pitchFamily="18" charset="0"/>
              </a:rPr>
              <a:t>Số DN thành lập mới</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vi-VN"/>
        </a:p>
      </c:txPr>
    </c:title>
    <c:autoTitleDeleted val="0"/>
    <c:plotArea>
      <c:layout/>
      <c:barChart>
        <c:barDir val="col"/>
        <c:grouping val="clustered"/>
        <c:varyColors val="0"/>
        <c:ser>
          <c:idx val="0"/>
          <c:order val="0"/>
          <c:tx>
            <c:strRef>
              <c:f>'[ĐKKD thang 1 và tháng 2.xls]Tổng hợp tháng 1'!$AJ$13</c:f>
              <c:strCache>
                <c:ptCount val="1"/>
                <c:pt idx="0">
                  <c:v>Số DN thành lập mớ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ĐKKD thang 1 và tháng 2.xls]Tổng hợp tháng 1'!$AI$14:$AI$47</c:f>
              <c:strCache>
                <c:ptCount val="11"/>
                <c:pt idx="0">
                  <c:v>Quy Nhơn</c:v>
                </c:pt>
                <c:pt idx="1">
                  <c:v>An Nhơn</c:v>
                </c:pt>
                <c:pt idx="2">
                  <c:v>Hoài Nhơn</c:v>
                </c:pt>
                <c:pt idx="3">
                  <c:v>Tuy Phước</c:v>
                </c:pt>
                <c:pt idx="4">
                  <c:v>Phú Cát</c:v>
                </c:pt>
                <c:pt idx="5">
                  <c:v>Phù Mỹ</c:v>
                </c:pt>
                <c:pt idx="6">
                  <c:v>Tây Sơn</c:v>
                </c:pt>
                <c:pt idx="7">
                  <c:v>Hoài Ân</c:v>
                </c:pt>
                <c:pt idx="8">
                  <c:v>An Lão</c:v>
                </c:pt>
                <c:pt idx="9">
                  <c:v>Vân Canh</c:v>
                </c:pt>
                <c:pt idx="10">
                  <c:v>Vĩnh Thạnh</c:v>
                </c:pt>
              </c:strCache>
            </c:strRef>
          </c:cat>
          <c:val>
            <c:numRef>
              <c:f>'[ĐKKD thang 1 và tháng 2.xls]Tổng hợp tháng 1'!$AJ$14:$AJ$47</c:f>
              <c:numCache>
                <c:formatCode>General</c:formatCode>
                <c:ptCount val="11"/>
                <c:pt idx="0">
                  <c:v>108</c:v>
                </c:pt>
                <c:pt idx="1">
                  <c:v>10</c:v>
                </c:pt>
                <c:pt idx="2">
                  <c:v>8</c:v>
                </c:pt>
                <c:pt idx="3">
                  <c:v>11</c:v>
                </c:pt>
                <c:pt idx="4">
                  <c:v>8</c:v>
                </c:pt>
                <c:pt idx="5">
                  <c:v>11</c:v>
                </c:pt>
                <c:pt idx="6">
                  <c:v>6</c:v>
                </c:pt>
                <c:pt idx="7">
                  <c:v>5</c:v>
                </c:pt>
                <c:pt idx="8">
                  <c:v>0</c:v>
                </c:pt>
                <c:pt idx="9">
                  <c:v>1</c:v>
                </c:pt>
                <c:pt idx="10">
                  <c:v>0</c:v>
                </c:pt>
              </c:numCache>
            </c:numRef>
          </c:val>
          <c:extLst>
            <c:ext xmlns:c16="http://schemas.microsoft.com/office/drawing/2014/chart" uri="{C3380CC4-5D6E-409C-BE32-E72D297353CC}">
              <c16:uniqueId val="{00000000-78C0-44ED-B226-0F41BDD5E588}"/>
            </c:ext>
          </c:extLst>
        </c:ser>
        <c:dLbls>
          <c:dLblPos val="outEnd"/>
          <c:showLegendKey val="0"/>
          <c:showVal val="1"/>
          <c:showCatName val="0"/>
          <c:showSerName val="0"/>
          <c:showPercent val="0"/>
          <c:showBubbleSize val="0"/>
        </c:dLbls>
        <c:gapWidth val="150"/>
        <c:axId val="1220099135"/>
        <c:axId val="779741711"/>
      </c:barChart>
      <c:catAx>
        <c:axId val="1220099135"/>
        <c:scaling>
          <c:orientation val="minMax"/>
        </c:scaling>
        <c:delete val="0"/>
        <c:axPos val="b"/>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vi-VN"/>
          </a:p>
        </c:txPr>
        <c:crossAx val="779741711"/>
        <c:crosses val="autoZero"/>
        <c:auto val="1"/>
        <c:lblAlgn val="ctr"/>
        <c:lblOffset val="100"/>
        <c:noMultiLvlLbl val="0"/>
      </c:catAx>
      <c:valAx>
        <c:axId val="77974171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vi-VN"/>
          </a:p>
        </c:txPr>
        <c:crossAx val="12200991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dirty="0"/>
            <a:t>1</a:t>
          </a:r>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lgn="just">
            <a:buNone/>
          </a:pPr>
          <a:r>
            <a:rPr lang="vi-VN" sz="2400" kern="1200">
              <a:latin typeface="Times New Roman" panose="02020603050405020304" pitchFamily="18" charset="0"/>
              <a:cs typeface="Times New Roman" panose="02020603050405020304" pitchFamily="18" charset="0"/>
            </a:rPr>
            <a:t>Tập trung chăm sóc và chuẩn bị sơ kết sản xuất vụ Đông Xuân, triển khai sản xuất vụ Hè Thu</a:t>
          </a:r>
          <a:r>
            <a:rPr lang="en-US" sz="2400" kern="1200">
              <a:latin typeface="Times New Roman" panose="02020603050405020304" pitchFamily="18" charset="0"/>
              <a:cs typeface="Times New Roman" panose="02020603050405020304" pitchFamily="18" charset="0"/>
            </a:rPr>
            <a:t>. </a:t>
          </a:r>
          <a:r>
            <a:rPr lang="nl-NL" sz="2400" kern="1200">
              <a:latin typeface="Times New Roman" panose="02020603050405020304" pitchFamily="18" charset="0"/>
              <a:cs typeface="Times New Roman" panose="02020603050405020304" pitchFamily="18" charset="0"/>
            </a:rPr>
            <a:t>Tập trung khắc phục cảnh báo của Ủy ban châu Âu về chống khai thác thủy sản bất hợp pháp (IUU)</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gm:t>
    </dgm:pt>
    <dgm:pt modelId="{8C5248B0-CF95-46B9-B3DF-5903DA7BE923}" type="parTrans" cxnId="{151F138B-8227-4665-BD22-1724EE04FEC3}">
      <dgm:prSet/>
      <dgm:spPr/>
      <dgm:t>
        <a:bodyPr/>
        <a:lstStyle/>
        <a:p>
          <a:endParaRPr lang="en-US"/>
        </a:p>
      </dgm:t>
    </dgm:pt>
    <dgm:pt modelId="{932BBA9B-3838-4105-B5F8-F779936A7798}" type="sibTrans" cxnId="{151F138B-8227-4665-BD22-1724EE04FEC3}">
      <dgm:prSet/>
      <dgm:spPr/>
      <dgm:t>
        <a:bodyPr/>
        <a:lstStyle/>
        <a:p>
          <a:endParaRPr lang="en-US"/>
        </a:p>
      </dgm:t>
    </dgm:pt>
    <dgm:pt modelId="{C1933DE2-883B-467A-A497-FC1A03521BD0}">
      <dgm:prSet phldrT="[Text]"/>
      <dgm:spPr/>
      <dgm:t>
        <a:bodyPr/>
        <a:lstStyle/>
        <a:p>
          <a:r>
            <a:rPr lang="en-US" dirty="0"/>
            <a:t>2</a:t>
          </a:r>
        </a:p>
      </dgm:t>
    </dgm:pt>
    <dgm:pt modelId="{182E3680-630D-484B-89B5-E15E838A98D1}" type="parTrans" cxnId="{252A553D-B51E-445A-9195-BCB6DCFBCE23}">
      <dgm:prSet/>
      <dgm:spPr/>
      <dgm:t>
        <a:bodyPr/>
        <a:lstStyle/>
        <a:p>
          <a:endParaRPr lang="en-US"/>
        </a:p>
      </dgm:t>
    </dgm:pt>
    <dgm:pt modelId="{477253D1-903F-4DD6-A7E7-0586DD6242ED}" type="sibTrans" cxnId="{252A553D-B51E-445A-9195-BCB6DCFBCE23}">
      <dgm:prSet/>
      <dgm:spPr/>
      <dgm:t>
        <a:bodyPr/>
        <a:lstStyle/>
        <a:p>
          <a:endParaRPr lang="en-US"/>
        </a:p>
      </dgm:t>
    </dgm:pt>
    <dgm:pt modelId="{439D5BA7-172F-4129-ACD1-22C6B6C19329}">
      <dgm:prSet phldrT="[Text]" custT="1"/>
      <dgm:spPr>
        <a:solidFill>
          <a:schemeClr val="accent2">
            <a:lumMod val="20000"/>
            <a:lumOff val="80000"/>
            <a:alpha val="90000"/>
          </a:schemeClr>
        </a:solidFill>
      </dgm:spPr>
      <dgm:t>
        <a:bodyPr/>
        <a:lstStyle/>
        <a:p>
          <a:pPr algn="just">
            <a:buNone/>
          </a:pPr>
          <a:r>
            <a:rPr lang="it-IT" sz="2400" kern="1200">
              <a:solidFill>
                <a:prstClr val="black">
                  <a:hueOff val="0"/>
                  <a:satOff val="0"/>
                  <a:lumOff val="0"/>
                  <a:alphaOff val="0"/>
                </a:prstClr>
              </a:solidFill>
              <a:latin typeface="Times New Roman" pitchFamily="18" charset="0"/>
              <a:ea typeface="+mn-ea"/>
              <a:cs typeface="Times New Roman" pitchFamily="18" charset="0"/>
            </a:rPr>
            <a:t>Tăng cường công tác quản lý đất đai, tài nguyên khoáng sản, bảo vệ môi trường. Triển khai quyết liệt, đồng bộ phương án xử lý vấn đề môi trường trên địa bàn tỉnh, nhất là trong thu gom, vận chuyển, xử lý rác, chất thải, nước thải</a:t>
          </a:r>
          <a:r>
            <a:rPr lang="vi-VN" sz="2400" kern="1200">
              <a:solidFill>
                <a:prstClr val="black">
                  <a:hueOff val="0"/>
                  <a:satOff val="0"/>
                  <a:lumOff val="0"/>
                  <a:alphaOff val="0"/>
                </a:prstClr>
              </a:solidFill>
              <a:latin typeface="Times New Roman" pitchFamily="18" charset="0"/>
              <a:ea typeface="+mn-ea"/>
              <a:cs typeface="Times New Roman" pitchFamily="18" charset="0"/>
            </a:rPr>
            <a:t>...</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gm:t>
    </dgm:pt>
    <dgm:pt modelId="{8B64A804-016B-409D-B50E-B11366C9E709}" type="parTrans" cxnId="{03A57C13-84A1-47F9-9654-3D8E9D1A7AC5}">
      <dgm:prSet/>
      <dgm:spPr/>
      <dgm:t>
        <a:bodyPr/>
        <a:lstStyle/>
        <a:p>
          <a:endParaRPr lang="en-US"/>
        </a:p>
      </dgm:t>
    </dgm:pt>
    <dgm:pt modelId="{CA2B4599-8ADC-48A0-90B9-B09B905E51B6}" type="sibTrans" cxnId="{03A57C13-84A1-47F9-9654-3D8E9D1A7AC5}">
      <dgm:prSet/>
      <dgm:spPr/>
      <dgm:t>
        <a:bodyPr/>
        <a:lstStyle/>
        <a:p>
          <a:endParaRPr lang="en-US"/>
        </a:p>
      </dgm:t>
    </dgm:pt>
    <dgm:pt modelId="{56D39143-023E-4C72-BBA5-EF173F9BD014}">
      <dgm:prSet phldrT="[Text]"/>
      <dgm:spPr/>
      <dgm:t>
        <a:bodyPr/>
        <a:lstStyle/>
        <a:p>
          <a:r>
            <a:rPr lang="en-US" dirty="0"/>
            <a:t>3</a:t>
          </a:r>
        </a:p>
      </dgm:t>
    </dgm:pt>
    <dgm:pt modelId="{704DAA72-BD58-41D8-A497-12E1A4CC40DA}" type="parTrans" cxnId="{A67447F1-BB7B-4D3B-82E0-4E32EF97F94F}">
      <dgm:prSet/>
      <dgm:spPr/>
      <dgm:t>
        <a:bodyPr/>
        <a:lstStyle/>
        <a:p>
          <a:endParaRPr lang="en-US"/>
        </a:p>
      </dgm:t>
    </dgm:pt>
    <dgm:pt modelId="{F979FFB3-6427-4249-90BE-69B53EC9AD13}" type="sibTrans" cxnId="{A67447F1-BB7B-4D3B-82E0-4E32EF97F94F}">
      <dgm:prSet/>
      <dgm:spPr/>
      <dgm:t>
        <a:bodyPr/>
        <a:lstStyle/>
        <a:p>
          <a:endParaRPr lang="en-US"/>
        </a:p>
      </dgm:t>
    </dgm:pt>
    <dgm:pt modelId="{87914017-FA12-4127-A184-E034C1EC6480}">
      <dgm:prSet phldrT="[Text]"/>
      <dgm:spPr/>
      <dgm:t>
        <a:bodyPr/>
        <a:lstStyle/>
        <a:p>
          <a:r>
            <a:rPr lang="en-US" dirty="0"/>
            <a:t>4</a:t>
          </a:r>
        </a:p>
      </dgm:t>
    </dgm:pt>
    <dgm:pt modelId="{F0E5AAF6-E516-4F11-97F6-F5ADCDD41BF9}" type="parTrans" cxnId="{55DC285D-1470-4222-8E89-BE4F56C5F65F}">
      <dgm:prSet/>
      <dgm:spPr/>
      <dgm:t>
        <a:bodyPr/>
        <a:lstStyle/>
        <a:p>
          <a:endParaRPr lang="en-US"/>
        </a:p>
      </dgm:t>
    </dgm:pt>
    <dgm:pt modelId="{4DC36D43-C191-4DCB-B6C6-54C4BECDF020}" type="sibTrans" cxnId="{55DC285D-1470-4222-8E89-BE4F56C5F65F}">
      <dgm:prSet/>
      <dgm:spPr/>
      <dgm:t>
        <a:bodyPr/>
        <a:lstStyle/>
        <a:p>
          <a:endParaRPr lang="en-US"/>
        </a:p>
      </dgm:t>
    </dgm:pt>
    <dgm:pt modelId="{3D9335D1-031F-4F65-962F-9CDAB09D253B}">
      <dgm:prSet custT="1"/>
      <dgm:spPr>
        <a:solidFill>
          <a:schemeClr val="accent2">
            <a:lumMod val="20000"/>
            <a:lumOff val="80000"/>
            <a:alpha val="90000"/>
          </a:schemeClr>
        </a:solidFill>
      </dgm:spPr>
      <dgm:t>
        <a:bodyPr/>
        <a:lstStyle/>
        <a:p>
          <a:pPr algn="just">
            <a:buNone/>
          </a:pPr>
          <a:r>
            <a:rPr lang="it-IT"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Chủ động nắm bắt tình hình hoạt động của các doanh nghiệp; kịp thời hỗ trợ tháo gỡ khó khăn, vướng mắc để doanh nghiệp sản xuất, kinh doanh hiệu quả</a:t>
          </a:r>
          <a:r>
            <a:rPr lang="vi-VN"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it-IT"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riển khai các giải pháp kích cầu, thúc đẩy thương mại, dịch vụ, du lịch</a:t>
          </a:r>
          <a:r>
            <a:rPr lang="vi-VN"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A8D602EA-28E3-40C4-B5A1-8DB7AC2DB7AE}" type="parTrans" cxnId="{56A90894-A054-40DB-AC89-EF01EA3423D6}">
      <dgm:prSet/>
      <dgm:spPr/>
      <dgm:t>
        <a:bodyPr/>
        <a:lstStyle/>
        <a:p>
          <a:endParaRPr lang="en-US"/>
        </a:p>
      </dgm:t>
    </dgm:pt>
    <dgm:pt modelId="{354CC2F7-7518-4094-B82B-BC553913C535}" type="sibTrans" cxnId="{56A90894-A054-40DB-AC89-EF01EA3423D6}">
      <dgm:prSet/>
      <dgm:spPr/>
      <dgm:t>
        <a:bodyPr/>
        <a:lstStyle/>
        <a:p>
          <a:endParaRPr lang="en-US"/>
        </a:p>
      </dgm:t>
    </dgm:pt>
    <dgm:pt modelId="{D309DC18-174A-4F37-915F-610F1A7B95FB}">
      <dgm:prSet custT="1"/>
      <dgm:spPr>
        <a:solidFill>
          <a:schemeClr val="accent2">
            <a:lumMod val="20000"/>
            <a:lumOff val="80000"/>
            <a:alpha val="90000"/>
          </a:schemeClr>
        </a:solidFill>
      </dgm:spPr>
      <dgm:t>
        <a:bodyPr/>
        <a:lstStyle/>
        <a:p>
          <a:pPr algn="just">
            <a:buNone/>
          </a:pPr>
          <a:r>
            <a:rPr lang="nl-NL"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iếp tục đ</a:t>
          </a:r>
          <a:r>
            <a:rPr lang="it-IT"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ẩy mạnh công tác quảng bá, kêu gọi, thu hút các dự án vào Khu kinh tế Nhơn Hội, các khu, cụm công nghiệp và các khu, điểm du lịch. Tạo điều kiện cho các nhà đầu tư đẩy nhanh tiến độ xây dựng, </a:t>
          </a:r>
          <a:r>
            <a:rPr lang="vi-VN"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sớm</a:t>
          </a:r>
          <a:r>
            <a:rPr lang="it-IT"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đi vào hoạt động </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422A5916-5E13-47D2-A7E8-5BE91CD14B7B}" type="parTrans" cxnId="{0F05AC3E-A175-45ED-A219-CC1EC1F39BD8}">
      <dgm:prSet/>
      <dgm:spPr/>
      <dgm:t>
        <a:bodyPr/>
        <a:lstStyle/>
        <a:p>
          <a:endParaRPr lang="en-US"/>
        </a:p>
      </dgm:t>
    </dgm:pt>
    <dgm:pt modelId="{75F9E508-6707-4068-B069-D4D3E8289F76}" type="sibTrans" cxnId="{0F05AC3E-A175-45ED-A219-CC1EC1F39BD8}">
      <dgm:prSet/>
      <dgm:spPr/>
      <dgm:t>
        <a:bodyPr/>
        <a:lstStyle/>
        <a:p>
          <a:endParaRPr lang="en-US"/>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4">
        <dgm:presLayoutVars>
          <dgm:chMax val="1"/>
          <dgm:bulletEnabled val="1"/>
        </dgm:presLayoutVars>
      </dgm:prSet>
      <dgm:spPr/>
    </dgm:pt>
    <dgm:pt modelId="{9770188F-3220-4119-9599-0FD33E998D96}" type="pres">
      <dgm:prSet presAssocID="{CE531857-95D9-4450-A523-F1CA7AE880F1}" presName="descendantText" presStyleLbl="alignAcc1" presStyleIdx="0" presStyleCnt="4">
        <dgm:presLayoutVars>
          <dgm:bulletEnabled val="1"/>
        </dgm:presLayoutVars>
      </dgm:prSet>
      <dgm:spPr/>
    </dgm:pt>
    <dgm:pt modelId="{7F4255E7-FA3E-4176-8361-F3068433BD36}" type="pres">
      <dgm:prSet presAssocID="{6F0CD08A-C498-4E17-88C3-1D1175F05039}" presName="sp" presStyleCnt="0"/>
      <dgm:spPr/>
    </dgm:pt>
    <dgm:pt modelId="{E1AF1DC7-3446-4E70-A12E-3A13B2038890}" type="pres">
      <dgm:prSet presAssocID="{C1933DE2-883B-467A-A497-FC1A03521BD0}" presName="composite" presStyleCnt="0"/>
      <dgm:spPr/>
    </dgm:pt>
    <dgm:pt modelId="{89164601-E0A1-4038-AED2-754D77EF4C41}" type="pres">
      <dgm:prSet presAssocID="{C1933DE2-883B-467A-A497-FC1A03521BD0}" presName="parentText" presStyleLbl="alignNode1" presStyleIdx="1" presStyleCnt="4">
        <dgm:presLayoutVars>
          <dgm:chMax val="1"/>
          <dgm:bulletEnabled val="1"/>
        </dgm:presLayoutVars>
      </dgm:prSet>
      <dgm:spPr/>
    </dgm:pt>
    <dgm:pt modelId="{594D2AB4-91B5-4F18-9ACA-1D51E359B741}" type="pres">
      <dgm:prSet presAssocID="{C1933DE2-883B-467A-A497-FC1A03521BD0}" presName="descendantText" presStyleLbl="alignAcc1" presStyleIdx="1" presStyleCnt="4">
        <dgm:presLayoutVars>
          <dgm:bulletEnabled val="1"/>
        </dgm:presLayoutVars>
      </dgm:prSet>
      <dgm:spPr/>
    </dgm:pt>
    <dgm:pt modelId="{99D9A01F-7B1E-4703-8363-07CEAF17D94C}" type="pres">
      <dgm:prSet presAssocID="{477253D1-903F-4DD6-A7E7-0586DD6242ED}" presName="sp" presStyleCnt="0"/>
      <dgm:spPr/>
    </dgm:pt>
    <dgm:pt modelId="{F0A2DE8B-D10D-4031-BBF1-6A931FA34DEA}" type="pres">
      <dgm:prSet presAssocID="{56D39143-023E-4C72-BBA5-EF173F9BD014}" presName="composite" presStyleCnt="0"/>
      <dgm:spPr/>
    </dgm:pt>
    <dgm:pt modelId="{3DA4DBDD-86BF-4DC6-9D99-05C1C1BFB383}" type="pres">
      <dgm:prSet presAssocID="{56D39143-023E-4C72-BBA5-EF173F9BD014}" presName="parentText" presStyleLbl="alignNode1" presStyleIdx="2" presStyleCnt="4">
        <dgm:presLayoutVars>
          <dgm:chMax val="1"/>
          <dgm:bulletEnabled val="1"/>
        </dgm:presLayoutVars>
      </dgm:prSet>
      <dgm:spPr/>
    </dgm:pt>
    <dgm:pt modelId="{18D2B7CF-92DC-4C98-B7A8-681260E88B2C}" type="pres">
      <dgm:prSet presAssocID="{56D39143-023E-4C72-BBA5-EF173F9BD014}" presName="descendantText" presStyleLbl="alignAcc1" presStyleIdx="2" presStyleCnt="4" custScaleY="104741">
        <dgm:presLayoutVars>
          <dgm:bulletEnabled val="1"/>
        </dgm:presLayoutVars>
      </dgm:prSet>
      <dgm:spPr/>
    </dgm:pt>
    <dgm:pt modelId="{C6BFF5ED-B2A4-46F5-8B3A-C809D8D3C566}" type="pres">
      <dgm:prSet presAssocID="{F979FFB3-6427-4249-90BE-69B53EC9AD13}" presName="sp" presStyleCnt="0"/>
      <dgm:spPr/>
    </dgm:pt>
    <dgm:pt modelId="{7122DA74-36ED-4C3B-930E-E2653DF9234C}" type="pres">
      <dgm:prSet presAssocID="{87914017-FA12-4127-A184-E034C1EC6480}" presName="composite" presStyleCnt="0"/>
      <dgm:spPr/>
    </dgm:pt>
    <dgm:pt modelId="{62D4FF5F-BB58-4DAC-9260-24E1A247C3C5}" type="pres">
      <dgm:prSet presAssocID="{87914017-FA12-4127-A184-E034C1EC6480}" presName="parentText" presStyleLbl="alignNode1" presStyleIdx="3" presStyleCnt="4" custLinFactNeighborY="11781">
        <dgm:presLayoutVars>
          <dgm:chMax val="1"/>
          <dgm:bulletEnabled val="1"/>
        </dgm:presLayoutVars>
      </dgm:prSet>
      <dgm:spPr/>
    </dgm:pt>
    <dgm:pt modelId="{46F44EEA-00FF-478B-BA4D-FAA533FBEC40}" type="pres">
      <dgm:prSet presAssocID="{87914017-FA12-4127-A184-E034C1EC6480}" presName="descendantText" presStyleLbl="alignAcc1" presStyleIdx="3" presStyleCnt="4" custScaleX="99392" custScaleY="109679" custLinFactNeighborX="-297" custLinFactNeighborY="4660">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03A57C13-84A1-47F9-9654-3D8E9D1A7AC5}" srcId="{C1933DE2-883B-467A-A497-FC1A03521BD0}" destId="{439D5BA7-172F-4129-ACD1-22C6B6C19329}" srcOrd="0" destOrd="0" parTransId="{8B64A804-016B-409D-B50E-B11366C9E709}" sibTransId="{CA2B4599-8ADC-48A0-90B9-B09B905E51B6}"/>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30697023-59AA-4C91-BC11-635A4CFC6D73}" type="presOf" srcId="{D309DC18-174A-4F37-915F-610F1A7B95FB}" destId="{46F44EEA-00FF-478B-BA4D-FAA533FBEC40}" srcOrd="0" destOrd="0" presId="urn:microsoft.com/office/officeart/2005/8/layout/chevron2"/>
    <dgm:cxn modelId="{26794A34-D8C6-4415-BC12-96721F7B7CB0}" type="presOf" srcId="{439D5BA7-172F-4129-ACD1-22C6B6C19329}" destId="{594D2AB4-91B5-4F18-9ACA-1D51E359B741}" srcOrd="0" destOrd="0" presId="urn:microsoft.com/office/officeart/2005/8/layout/chevron2"/>
    <dgm:cxn modelId="{252A553D-B51E-445A-9195-BCB6DCFBCE23}" srcId="{011C79E0-B116-4E55-8C54-A2CE86D2A740}" destId="{C1933DE2-883B-467A-A497-FC1A03521BD0}" srcOrd="1" destOrd="0" parTransId="{182E3680-630D-484B-89B5-E15E838A98D1}" sibTransId="{477253D1-903F-4DD6-A7E7-0586DD6242ED}"/>
    <dgm:cxn modelId="{0F05AC3E-A175-45ED-A219-CC1EC1F39BD8}" srcId="{87914017-FA12-4127-A184-E034C1EC6480}" destId="{D309DC18-174A-4F37-915F-610F1A7B95FB}" srcOrd="0" destOrd="0" parTransId="{422A5916-5E13-47D2-A7E8-5BE91CD14B7B}" sibTransId="{75F9E508-6707-4068-B069-D4D3E8289F76}"/>
    <dgm:cxn modelId="{55DC285D-1470-4222-8E89-BE4F56C5F65F}" srcId="{011C79E0-B116-4E55-8C54-A2CE86D2A740}" destId="{87914017-FA12-4127-A184-E034C1EC6480}" srcOrd="3" destOrd="0" parTransId="{F0E5AAF6-E516-4F11-97F6-F5ADCDD41BF9}" sibTransId="{4DC36D43-C191-4DCB-B6C6-54C4BECDF020}"/>
    <dgm:cxn modelId="{88AC068A-BA0C-4BE8-9CA2-D5EA93B65317}" type="presOf" srcId="{3D9335D1-031F-4F65-962F-9CDAB09D253B}" destId="{18D2B7CF-92DC-4C98-B7A8-681260E88B2C}"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87018493-5DCC-46DF-ADEB-440E6C1C91C8}" type="presOf" srcId="{C1933DE2-883B-467A-A497-FC1A03521BD0}" destId="{89164601-E0A1-4038-AED2-754D77EF4C41}" srcOrd="0" destOrd="0" presId="urn:microsoft.com/office/officeart/2005/8/layout/chevron2"/>
    <dgm:cxn modelId="{56A90894-A054-40DB-AC89-EF01EA3423D6}" srcId="{56D39143-023E-4C72-BBA5-EF173F9BD014}" destId="{3D9335D1-031F-4F65-962F-9CDAB09D253B}" srcOrd="0" destOrd="0" parTransId="{A8D602EA-28E3-40C4-B5A1-8DB7AC2DB7AE}" sibTransId="{354CC2F7-7518-4094-B82B-BC553913C535}"/>
    <dgm:cxn modelId="{64171CAC-7A3C-45A9-84AD-797ED4610BF4}" type="presOf" srcId="{87914017-FA12-4127-A184-E034C1EC6480}" destId="{62D4FF5F-BB58-4DAC-9260-24E1A247C3C5}" srcOrd="0" destOrd="0" presId="urn:microsoft.com/office/officeart/2005/8/layout/chevron2"/>
    <dgm:cxn modelId="{E309BFBF-A1BB-4F85-89CF-E531CEF7C843}" type="presOf" srcId="{56D39143-023E-4C72-BBA5-EF173F9BD014}" destId="{3DA4DBDD-86BF-4DC6-9D99-05C1C1BFB383}" srcOrd="0" destOrd="0" presId="urn:microsoft.com/office/officeart/2005/8/layout/chevron2"/>
    <dgm:cxn modelId="{F5A5FEDD-E52D-43C9-8D0E-0C952E7950B8}" type="presOf" srcId="{011C79E0-B116-4E55-8C54-A2CE86D2A740}" destId="{710DA7AD-DF2E-4B6F-8F66-B72A755643A6}" srcOrd="0" destOrd="0" presId="urn:microsoft.com/office/officeart/2005/8/layout/chevron2"/>
    <dgm:cxn modelId="{A67447F1-BB7B-4D3B-82E0-4E32EF97F94F}" srcId="{011C79E0-B116-4E55-8C54-A2CE86D2A740}" destId="{56D39143-023E-4C72-BBA5-EF173F9BD014}" srcOrd="2" destOrd="0" parTransId="{704DAA72-BD58-41D8-A497-12E1A4CC40DA}" sibTransId="{F979FFB3-6427-4249-90BE-69B53EC9AD13}"/>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 modelId="{23860E25-CD8C-4AC1-B68A-FB25A91BC140}" type="presParOf" srcId="{710DA7AD-DF2E-4B6F-8F66-B72A755643A6}" destId="{7F4255E7-FA3E-4176-8361-F3068433BD36}" srcOrd="1" destOrd="0" presId="urn:microsoft.com/office/officeart/2005/8/layout/chevron2"/>
    <dgm:cxn modelId="{0FDA4322-47B1-47D3-9119-2784D75CA99F}" type="presParOf" srcId="{710DA7AD-DF2E-4B6F-8F66-B72A755643A6}" destId="{E1AF1DC7-3446-4E70-A12E-3A13B2038890}" srcOrd="2" destOrd="0" presId="urn:microsoft.com/office/officeart/2005/8/layout/chevron2"/>
    <dgm:cxn modelId="{2748EC06-087A-4792-8284-2E838983AF18}" type="presParOf" srcId="{E1AF1DC7-3446-4E70-A12E-3A13B2038890}" destId="{89164601-E0A1-4038-AED2-754D77EF4C41}" srcOrd="0" destOrd="0" presId="urn:microsoft.com/office/officeart/2005/8/layout/chevron2"/>
    <dgm:cxn modelId="{9076968D-CA3F-4F41-9681-F8114BED2EAE}" type="presParOf" srcId="{E1AF1DC7-3446-4E70-A12E-3A13B2038890}" destId="{594D2AB4-91B5-4F18-9ACA-1D51E359B741}" srcOrd="1" destOrd="0" presId="urn:microsoft.com/office/officeart/2005/8/layout/chevron2"/>
    <dgm:cxn modelId="{8E07F895-B87A-456A-A492-8132DB0818A7}" type="presParOf" srcId="{710DA7AD-DF2E-4B6F-8F66-B72A755643A6}" destId="{99D9A01F-7B1E-4703-8363-07CEAF17D94C}" srcOrd="3" destOrd="0" presId="urn:microsoft.com/office/officeart/2005/8/layout/chevron2"/>
    <dgm:cxn modelId="{D32B60BF-8AFA-49A0-A64E-81D07E41B556}" type="presParOf" srcId="{710DA7AD-DF2E-4B6F-8F66-B72A755643A6}" destId="{F0A2DE8B-D10D-4031-BBF1-6A931FA34DEA}" srcOrd="4" destOrd="0" presId="urn:microsoft.com/office/officeart/2005/8/layout/chevron2"/>
    <dgm:cxn modelId="{7A2F8F54-E28B-49DF-A86C-0540E0757F76}" type="presParOf" srcId="{F0A2DE8B-D10D-4031-BBF1-6A931FA34DEA}" destId="{3DA4DBDD-86BF-4DC6-9D99-05C1C1BFB383}" srcOrd="0" destOrd="0" presId="urn:microsoft.com/office/officeart/2005/8/layout/chevron2"/>
    <dgm:cxn modelId="{6EBD4B51-5CCF-481D-B792-9B5BFA64197C}" type="presParOf" srcId="{F0A2DE8B-D10D-4031-BBF1-6A931FA34DEA}" destId="{18D2B7CF-92DC-4C98-B7A8-681260E88B2C}" srcOrd="1" destOrd="0" presId="urn:microsoft.com/office/officeart/2005/8/layout/chevron2"/>
    <dgm:cxn modelId="{4F82E95F-5FC3-4E92-8488-E70A428C0966}" type="presParOf" srcId="{710DA7AD-DF2E-4B6F-8F66-B72A755643A6}" destId="{C6BFF5ED-B2A4-46F5-8B3A-C809D8D3C566}" srcOrd="5" destOrd="0" presId="urn:microsoft.com/office/officeart/2005/8/layout/chevron2"/>
    <dgm:cxn modelId="{26D1ABFC-18E5-446E-A440-E45FFC993329}" type="presParOf" srcId="{710DA7AD-DF2E-4B6F-8F66-B72A755643A6}" destId="{7122DA74-36ED-4C3B-930E-E2653DF9234C}" srcOrd="6" destOrd="0" presId="urn:microsoft.com/office/officeart/2005/8/layout/chevron2"/>
    <dgm:cxn modelId="{3D87914C-53BF-459E-8AFB-62B6BD74BFC4}" type="presParOf" srcId="{7122DA74-36ED-4C3B-930E-E2653DF9234C}" destId="{62D4FF5F-BB58-4DAC-9260-24E1A247C3C5}" srcOrd="0" destOrd="0" presId="urn:microsoft.com/office/officeart/2005/8/layout/chevron2"/>
    <dgm:cxn modelId="{64AEA35D-8274-4730-8551-D751B5E7E319}" type="presParOf" srcId="{7122DA74-36ED-4C3B-930E-E2653DF9234C}" destId="{46F44EEA-00FF-478B-BA4D-FAA533FBEC40}"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a:t>5</a:t>
          </a:r>
          <a:endParaRPr lang="en-US" dirty="0"/>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lgn="just">
            <a:buNone/>
          </a:pPr>
          <a:r>
            <a:rPr lang="it-IT" sz="2400" kern="1200">
              <a:solidFill>
                <a:prstClr val="black">
                  <a:hueOff val="0"/>
                  <a:satOff val="0"/>
                  <a:lumOff val="0"/>
                  <a:alphaOff val="0"/>
                </a:prstClr>
              </a:solidFill>
              <a:latin typeface="Times New Roman" pitchFamily="18" charset="0"/>
              <a:ea typeface="+mn-ea"/>
              <a:cs typeface="Times New Roman" pitchFamily="18" charset="0"/>
            </a:rPr>
            <a:t>Tập trung đẩy nhanh tiến độ GPMB dự án Cao tốc Bắc – Nam qua địa bàn tỉnh</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gm:t>
    </dgm:pt>
    <dgm:pt modelId="{8C5248B0-CF95-46B9-B3DF-5903DA7BE923}" type="parTrans" cxnId="{151F138B-8227-4665-BD22-1724EE04FEC3}">
      <dgm:prSet/>
      <dgm:spPr/>
      <dgm:t>
        <a:bodyPr/>
        <a:lstStyle/>
        <a:p>
          <a:endParaRPr lang="en-US"/>
        </a:p>
      </dgm:t>
    </dgm:pt>
    <dgm:pt modelId="{932BBA9B-3838-4105-B5F8-F779936A7798}" type="sibTrans" cxnId="{151F138B-8227-4665-BD22-1724EE04FEC3}">
      <dgm:prSet/>
      <dgm:spPr/>
      <dgm:t>
        <a:bodyPr/>
        <a:lstStyle/>
        <a:p>
          <a:endParaRPr lang="en-US"/>
        </a:p>
      </dgm:t>
    </dgm:pt>
    <dgm:pt modelId="{C1933DE2-883B-467A-A497-FC1A03521BD0}">
      <dgm:prSet phldrT="[Text]"/>
      <dgm:spPr/>
      <dgm:t>
        <a:bodyPr/>
        <a:lstStyle/>
        <a:p>
          <a:r>
            <a:rPr lang="en-US"/>
            <a:t>6</a:t>
          </a:r>
          <a:endParaRPr lang="en-US" dirty="0"/>
        </a:p>
      </dgm:t>
    </dgm:pt>
    <dgm:pt modelId="{182E3680-630D-484B-89B5-E15E838A98D1}" type="parTrans" cxnId="{252A553D-B51E-445A-9195-BCB6DCFBCE23}">
      <dgm:prSet/>
      <dgm:spPr/>
      <dgm:t>
        <a:bodyPr/>
        <a:lstStyle/>
        <a:p>
          <a:endParaRPr lang="en-US"/>
        </a:p>
      </dgm:t>
    </dgm:pt>
    <dgm:pt modelId="{477253D1-903F-4DD6-A7E7-0586DD6242ED}" type="sibTrans" cxnId="{252A553D-B51E-445A-9195-BCB6DCFBCE23}">
      <dgm:prSet/>
      <dgm:spPr/>
      <dgm:t>
        <a:bodyPr/>
        <a:lstStyle/>
        <a:p>
          <a:endParaRPr lang="en-US"/>
        </a:p>
      </dgm:t>
    </dgm:pt>
    <dgm:pt modelId="{439D5BA7-172F-4129-ACD1-22C6B6C19329}">
      <dgm:prSet phldrT="[Text]" custT="1"/>
      <dgm:spPr>
        <a:solidFill>
          <a:schemeClr val="accent2">
            <a:lumMod val="20000"/>
            <a:lumOff val="80000"/>
            <a:alpha val="90000"/>
          </a:schemeClr>
        </a:solidFill>
      </dgm:spPr>
      <dgm:t>
        <a:bodyPr/>
        <a:lstStyle/>
        <a:p>
          <a:pPr algn="just">
            <a:buNone/>
          </a:pPr>
          <a:r>
            <a:rPr lang="en-US" sz="2400" b="0" kern="1200">
              <a:solidFill>
                <a:prstClr val="black">
                  <a:hueOff val="0"/>
                  <a:satOff val="0"/>
                  <a:lumOff val="0"/>
                  <a:alphaOff val="0"/>
                </a:prstClr>
              </a:solidFill>
              <a:latin typeface="Times New Roman" pitchFamily="18" charset="0"/>
              <a:ea typeface="+mn-ea"/>
              <a:cs typeface="Times New Roman" pitchFamily="18" charset="0"/>
            </a:rPr>
            <a:t>Tăng cường công tác quản lý thu, đôn đốc thu, chống tình trạng thất thu, lạm thu, giảm nợ đọng thuế. Tiếp tục hỗ trợ doanh nghiệp thụ hưởng tối đa các chính sách ưu đãi, hỗ trợ tháo gỡ khó khăn do Quốc hội, Chính phủ ban hành</a:t>
          </a:r>
          <a:endParaRPr lang="en-US" sz="2400" b="0" kern="1200" dirty="0">
            <a:solidFill>
              <a:prstClr val="black">
                <a:hueOff val="0"/>
                <a:satOff val="0"/>
                <a:lumOff val="0"/>
                <a:alphaOff val="0"/>
              </a:prstClr>
            </a:solidFill>
            <a:latin typeface="Times New Roman" pitchFamily="18" charset="0"/>
            <a:ea typeface="+mn-ea"/>
            <a:cs typeface="Times New Roman" pitchFamily="18" charset="0"/>
          </a:endParaRPr>
        </a:p>
      </dgm:t>
    </dgm:pt>
    <dgm:pt modelId="{8B64A804-016B-409D-B50E-B11366C9E709}" type="parTrans" cxnId="{03A57C13-84A1-47F9-9654-3D8E9D1A7AC5}">
      <dgm:prSet/>
      <dgm:spPr/>
      <dgm:t>
        <a:bodyPr/>
        <a:lstStyle/>
        <a:p>
          <a:endParaRPr lang="en-US"/>
        </a:p>
      </dgm:t>
    </dgm:pt>
    <dgm:pt modelId="{CA2B4599-8ADC-48A0-90B9-B09B905E51B6}" type="sibTrans" cxnId="{03A57C13-84A1-47F9-9654-3D8E9D1A7AC5}">
      <dgm:prSet/>
      <dgm:spPr/>
      <dgm:t>
        <a:bodyPr/>
        <a:lstStyle/>
        <a:p>
          <a:endParaRPr lang="en-US"/>
        </a:p>
      </dgm:t>
    </dgm:pt>
    <dgm:pt modelId="{56D39143-023E-4C72-BBA5-EF173F9BD014}">
      <dgm:prSet phldrT="[Text]"/>
      <dgm:spPr/>
      <dgm:t>
        <a:bodyPr/>
        <a:lstStyle/>
        <a:p>
          <a:r>
            <a:rPr lang="en-US"/>
            <a:t>7</a:t>
          </a:r>
          <a:endParaRPr lang="en-US" dirty="0"/>
        </a:p>
      </dgm:t>
    </dgm:pt>
    <dgm:pt modelId="{704DAA72-BD58-41D8-A497-12E1A4CC40DA}" type="parTrans" cxnId="{A67447F1-BB7B-4D3B-82E0-4E32EF97F94F}">
      <dgm:prSet/>
      <dgm:spPr/>
      <dgm:t>
        <a:bodyPr/>
        <a:lstStyle/>
        <a:p>
          <a:endParaRPr lang="en-US"/>
        </a:p>
      </dgm:t>
    </dgm:pt>
    <dgm:pt modelId="{F979FFB3-6427-4249-90BE-69B53EC9AD13}" type="sibTrans" cxnId="{A67447F1-BB7B-4D3B-82E0-4E32EF97F94F}">
      <dgm:prSet/>
      <dgm:spPr/>
      <dgm:t>
        <a:bodyPr/>
        <a:lstStyle/>
        <a:p>
          <a:endParaRPr lang="en-US"/>
        </a:p>
      </dgm:t>
    </dgm:pt>
    <dgm:pt modelId="{87914017-FA12-4127-A184-E034C1EC6480}">
      <dgm:prSet phldrT="[Text]"/>
      <dgm:spPr/>
      <dgm:t>
        <a:bodyPr/>
        <a:lstStyle/>
        <a:p>
          <a:r>
            <a:rPr lang="en-US"/>
            <a:t>8</a:t>
          </a:r>
          <a:endParaRPr lang="en-US" dirty="0"/>
        </a:p>
      </dgm:t>
    </dgm:pt>
    <dgm:pt modelId="{F0E5AAF6-E516-4F11-97F6-F5ADCDD41BF9}" type="parTrans" cxnId="{55DC285D-1470-4222-8E89-BE4F56C5F65F}">
      <dgm:prSet/>
      <dgm:spPr/>
      <dgm:t>
        <a:bodyPr/>
        <a:lstStyle/>
        <a:p>
          <a:endParaRPr lang="en-US"/>
        </a:p>
      </dgm:t>
    </dgm:pt>
    <dgm:pt modelId="{4DC36D43-C191-4DCB-B6C6-54C4BECDF020}" type="sibTrans" cxnId="{55DC285D-1470-4222-8E89-BE4F56C5F65F}">
      <dgm:prSet/>
      <dgm:spPr/>
      <dgm:t>
        <a:bodyPr/>
        <a:lstStyle/>
        <a:p>
          <a:endParaRPr lang="en-US"/>
        </a:p>
      </dgm:t>
    </dgm:pt>
    <dgm:pt modelId="{3D9335D1-031F-4F65-962F-9CDAB09D253B}">
      <dgm:prSet custT="1"/>
      <dgm:spPr>
        <a:solidFill>
          <a:schemeClr val="accent2">
            <a:lumMod val="20000"/>
            <a:lumOff val="80000"/>
            <a:alpha val="90000"/>
          </a:schemeClr>
        </a:solidFill>
      </dgm:spPr>
      <dgm:t>
        <a:bodyPr/>
        <a:lstStyle/>
        <a:p>
          <a:pPr algn="just">
            <a:buNone/>
          </a:pPr>
          <a:r>
            <a:rPr lang="it-IT" sz="2400" kern="1200">
              <a:solidFill>
                <a:prstClr val="black">
                  <a:hueOff val="0"/>
                  <a:satOff val="0"/>
                  <a:lumOff val="0"/>
                  <a:alphaOff val="0"/>
                </a:prstClr>
              </a:solidFill>
              <a:latin typeface="Times New Roman" pitchFamily="18" charset="0"/>
              <a:ea typeface="+mn-ea"/>
              <a:cs typeface="Times New Roman" pitchFamily="18" charset="0"/>
            </a:rPr>
            <a:t>Tiếp tục chú trọng thực hiện đồng bộ các biện pháp phòng, chống</a:t>
          </a:r>
          <a:r>
            <a:rPr lang="vi-VN" sz="2400" kern="1200">
              <a:solidFill>
                <a:prstClr val="black">
                  <a:hueOff val="0"/>
                  <a:satOff val="0"/>
                  <a:lumOff val="0"/>
                  <a:alphaOff val="0"/>
                </a:prstClr>
              </a:solidFill>
              <a:latin typeface="Times New Roman" pitchFamily="18" charset="0"/>
              <a:ea typeface="+mn-ea"/>
              <a:cs typeface="Times New Roman" pitchFamily="18" charset="0"/>
            </a:rPr>
            <a:t> và tiêm vắc-xin phòng Covid-19. Đẩy mạnh các hoạt động </a:t>
          </a:r>
          <a:r>
            <a:rPr lang="it-IT" sz="2400" kern="1200">
              <a:solidFill>
                <a:prstClr val="black">
                  <a:hueOff val="0"/>
                  <a:satOff val="0"/>
                  <a:lumOff val="0"/>
                  <a:alphaOff val="0"/>
                </a:prstClr>
              </a:solidFill>
              <a:latin typeface="Times New Roman" pitchFamily="18" charset="0"/>
              <a:ea typeface="+mn-ea"/>
              <a:cs typeface="Times New Roman" pitchFamily="18" charset="0"/>
            </a:rPr>
            <a:t>trên các lĩnh vực y tế, giáo dục, văn hóa, thể dục thể thao</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gm:t>
    </dgm:pt>
    <dgm:pt modelId="{A8D602EA-28E3-40C4-B5A1-8DB7AC2DB7AE}" type="parTrans" cxnId="{56A90894-A054-40DB-AC89-EF01EA3423D6}">
      <dgm:prSet/>
      <dgm:spPr/>
      <dgm:t>
        <a:bodyPr/>
        <a:lstStyle/>
        <a:p>
          <a:endParaRPr lang="en-US"/>
        </a:p>
      </dgm:t>
    </dgm:pt>
    <dgm:pt modelId="{354CC2F7-7518-4094-B82B-BC553913C535}" type="sibTrans" cxnId="{56A90894-A054-40DB-AC89-EF01EA3423D6}">
      <dgm:prSet/>
      <dgm:spPr/>
      <dgm:t>
        <a:bodyPr/>
        <a:lstStyle/>
        <a:p>
          <a:endParaRPr lang="en-US"/>
        </a:p>
      </dgm:t>
    </dgm:pt>
    <dgm:pt modelId="{D309DC18-174A-4F37-915F-610F1A7B95FB}">
      <dgm:prSet custT="1"/>
      <dgm:spPr>
        <a:solidFill>
          <a:schemeClr val="accent2">
            <a:lumMod val="20000"/>
            <a:lumOff val="80000"/>
            <a:alpha val="90000"/>
          </a:schemeClr>
        </a:solidFill>
      </dgm:spPr>
      <dgm:t>
        <a:bodyPr/>
        <a:lstStyle/>
        <a:p>
          <a:pPr algn="just">
            <a:buNone/>
          </a:pPr>
          <a:r>
            <a:rPr lang="it-IT" sz="2400" kern="1200">
              <a:solidFill>
                <a:prstClr val="black">
                  <a:hueOff val="0"/>
                  <a:satOff val="0"/>
                  <a:lumOff val="0"/>
                  <a:alphaOff val="0"/>
                </a:prstClr>
              </a:solidFill>
              <a:latin typeface="Times New Roman" pitchFamily="18" charset="0"/>
              <a:ea typeface="+mn-ea"/>
              <a:cs typeface="Times New Roman" pitchFamily="18" charset="0"/>
            </a:rPr>
            <a:t>Tập trung hoàn thiện nội dung, tài liệu đào tạo, bồi dưỡng nâng cao trình độ năng lực cho cán bộ cấp xã trên địa bàn tỉnh, nghiên cứu </a:t>
          </a:r>
          <a:r>
            <a:rPr lang="en-US" sz="2400" kern="1200">
              <a:solidFill>
                <a:prstClr val="black">
                  <a:hueOff val="0"/>
                  <a:satOff val="0"/>
                  <a:lumOff val="0"/>
                  <a:alphaOff val="0"/>
                </a:prstClr>
              </a:solidFill>
              <a:latin typeface="Times New Roman" pitchFamily="18" charset="0"/>
              <a:ea typeface="+mn-ea"/>
              <a:cs typeface="Times New Roman" pitchFamily="18" charset="0"/>
            </a:rPr>
            <a:t>số hóa tài liệu đào tạo</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gm:t>
    </dgm:pt>
    <dgm:pt modelId="{422A5916-5E13-47D2-A7E8-5BE91CD14B7B}" type="parTrans" cxnId="{0F05AC3E-A175-45ED-A219-CC1EC1F39BD8}">
      <dgm:prSet/>
      <dgm:spPr/>
      <dgm:t>
        <a:bodyPr/>
        <a:lstStyle/>
        <a:p>
          <a:endParaRPr lang="en-US"/>
        </a:p>
      </dgm:t>
    </dgm:pt>
    <dgm:pt modelId="{75F9E508-6707-4068-B069-D4D3E8289F76}" type="sibTrans" cxnId="{0F05AC3E-A175-45ED-A219-CC1EC1F39BD8}">
      <dgm:prSet/>
      <dgm:spPr/>
      <dgm:t>
        <a:bodyPr/>
        <a:lstStyle/>
        <a:p>
          <a:endParaRPr lang="en-US"/>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4">
        <dgm:presLayoutVars>
          <dgm:chMax val="1"/>
          <dgm:bulletEnabled val="1"/>
        </dgm:presLayoutVars>
      </dgm:prSet>
      <dgm:spPr/>
    </dgm:pt>
    <dgm:pt modelId="{9770188F-3220-4119-9599-0FD33E998D96}" type="pres">
      <dgm:prSet presAssocID="{CE531857-95D9-4450-A523-F1CA7AE880F1}" presName="descendantText" presStyleLbl="alignAcc1" presStyleIdx="0" presStyleCnt="4" custScaleY="128787">
        <dgm:presLayoutVars>
          <dgm:bulletEnabled val="1"/>
        </dgm:presLayoutVars>
      </dgm:prSet>
      <dgm:spPr/>
    </dgm:pt>
    <dgm:pt modelId="{7F4255E7-FA3E-4176-8361-F3068433BD36}" type="pres">
      <dgm:prSet presAssocID="{6F0CD08A-C498-4E17-88C3-1D1175F05039}" presName="sp" presStyleCnt="0"/>
      <dgm:spPr/>
    </dgm:pt>
    <dgm:pt modelId="{E1AF1DC7-3446-4E70-A12E-3A13B2038890}" type="pres">
      <dgm:prSet presAssocID="{C1933DE2-883B-467A-A497-FC1A03521BD0}" presName="composite" presStyleCnt="0"/>
      <dgm:spPr/>
    </dgm:pt>
    <dgm:pt modelId="{89164601-E0A1-4038-AED2-754D77EF4C41}" type="pres">
      <dgm:prSet presAssocID="{C1933DE2-883B-467A-A497-FC1A03521BD0}" presName="parentText" presStyleLbl="alignNode1" presStyleIdx="1" presStyleCnt="4">
        <dgm:presLayoutVars>
          <dgm:chMax val="1"/>
          <dgm:bulletEnabled val="1"/>
        </dgm:presLayoutVars>
      </dgm:prSet>
      <dgm:spPr/>
    </dgm:pt>
    <dgm:pt modelId="{594D2AB4-91B5-4F18-9ACA-1D51E359B741}" type="pres">
      <dgm:prSet presAssocID="{C1933DE2-883B-467A-A497-FC1A03521BD0}" presName="descendantText" presStyleLbl="alignAcc1" presStyleIdx="1" presStyleCnt="4">
        <dgm:presLayoutVars>
          <dgm:bulletEnabled val="1"/>
        </dgm:presLayoutVars>
      </dgm:prSet>
      <dgm:spPr/>
    </dgm:pt>
    <dgm:pt modelId="{99D9A01F-7B1E-4703-8363-07CEAF17D94C}" type="pres">
      <dgm:prSet presAssocID="{477253D1-903F-4DD6-A7E7-0586DD6242ED}" presName="sp" presStyleCnt="0"/>
      <dgm:spPr/>
    </dgm:pt>
    <dgm:pt modelId="{F0A2DE8B-D10D-4031-BBF1-6A931FA34DEA}" type="pres">
      <dgm:prSet presAssocID="{56D39143-023E-4C72-BBA5-EF173F9BD014}" presName="composite" presStyleCnt="0"/>
      <dgm:spPr/>
    </dgm:pt>
    <dgm:pt modelId="{3DA4DBDD-86BF-4DC6-9D99-05C1C1BFB383}" type="pres">
      <dgm:prSet presAssocID="{56D39143-023E-4C72-BBA5-EF173F9BD014}" presName="parentText" presStyleLbl="alignNode1" presStyleIdx="2" presStyleCnt="4">
        <dgm:presLayoutVars>
          <dgm:chMax val="1"/>
          <dgm:bulletEnabled val="1"/>
        </dgm:presLayoutVars>
      </dgm:prSet>
      <dgm:spPr/>
    </dgm:pt>
    <dgm:pt modelId="{18D2B7CF-92DC-4C98-B7A8-681260E88B2C}" type="pres">
      <dgm:prSet presAssocID="{56D39143-023E-4C72-BBA5-EF173F9BD014}" presName="descendantText" presStyleLbl="alignAcc1" presStyleIdx="2" presStyleCnt="4" custScaleX="99520" custScaleY="98154">
        <dgm:presLayoutVars>
          <dgm:bulletEnabled val="1"/>
        </dgm:presLayoutVars>
      </dgm:prSet>
      <dgm:spPr/>
    </dgm:pt>
    <dgm:pt modelId="{C6BFF5ED-B2A4-46F5-8B3A-C809D8D3C566}" type="pres">
      <dgm:prSet presAssocID="{F979FFB3-6427-4249-90BE-69B53EC9AD13}" presName="sp" presStyleCnt="0"/>
      <dgm:spPr/>
    </dgm:pt>
    <dgm:pt modelId="{7122DA74-36ED-4C3B-930E-E2653DF9234C}" type="pres">
      <dgm:prSet presAssocID="{87914017-FA12-4127-A184-E034C1EC6480}" presName="composite" presStyleCnt="0"/>
      <dgm:spPr/>
    </dgm:pt>
    <dgm:pt modelId="{62D4FF5F-BB58-4DAC-9260-24E1A247C3C5}" type="pres">
      <dgm:prSet presAssocID="{87914017-FA12-4127-A184-E034C1EC6480}" presName="parentText" presStyleLbl="alignNode1" presStyleIdx="3" presStyleCnt="4" custLinFactNeighborY="11781">
        <dgm:presLayoutVars>
          <dgm:chMax val="1"/>
          <dgm:bulletEnabled val="1"/>
        </dgm:presLayoutVars>
      </dgm:prSet>
      <dgm:spPr/>
    </dgm:pt>
    <dgm:pt modelId="{46F44EEA-00FF-478B-BA4D-FAA533FBEC40}" type="pres">
      <dgm:prSet presAssocID="{87914017-FA12-4127-A184-E034C1EC6480}" presName="descendantText" presStyleLbl="alignAcc1" presStyleIdx="3" presStyleCnt="4" custScaleY="101953" custLinFactNeighborY="2690">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03A57C13-84A1-47F9-9654-3D8E9D1A7AC5}" srcId="{C1933DE2-883B-467A-A497-FC1A03521BD0}" destId="{439D5BA7-172F-4129-ACD1-22C6B6C19329}" srcOrd="0" destOrd="0" parTransId="{8B64A804-016B-409D-B50E-B11366C9E709}" sibTransId="{CA2B4599-8ADC-48A0-90B9-B09B905E51B6}"/>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30697023-59AA-4C91-BC11-635A4CFC6D73}" type="presOf" srcId="{D309DC18-174A-4F37-915F-610F1A7B95FB}" destId="{46F44EEA-00FF-478B-BA4D-FAA533FBEC40}" srcOrd="0" destOrd="0" presId="urn:microsoft.com/office/officeart/2005/8/layout/chevron2"/>
    <dgm:cxn modelId="{26794A34-D8C6-4415-BC12-96721F7B7CB0}" type="presOf" srcId="{439D5BA7-172F-4129-ACD1-22C6B6C19329}" destId="{594D2AB4-91B5-4F18-9ACA-1D51E359B741}" srcOrd="0" destOrd="0" presId="urn:microsoft.com/office/officeart/2005/8/layout/chevron2"/>
    <dgm:cxn modelId="{252A553D-B51E-445A-9195-BCB6DCFBCE23}" srcId="{011C79E0-B116-4E55-8C54-A2CE86D2A740}" destId="{C1933DE2-883B-467A-A497-FC1A03521BD0}" srcOrd="1" destOrd="0" parTransId="{182E3680-630D-484B-89B5-E15E838A98D1}" sibTransId="{477253D1-903F-4DD6-A7E7-0586DD6242ED}"/>
    <dgm:cxn modelId="{0F05AC3E-A175-45ED-A219-CC1EC1F39BD8}" srcId="{87914017-FA12-4127-A184-E034C1EC6480}" destId="{D309DC18-174A-4F37-915F-610F1A7B95FB}" srcOrd="0" destOrd="0" parTransId="{422A5916-5E13-47D2-A7E8-5BE91CD14B7B}" sibTransId="{75F9E508-6707-4068-B069-D4D3E8289F76}"/>
    <dgm:cxn modelId="{55DC285D-1470-4222-8E89-BE4F56C5F65F}" srcId="{011C79E0-B116-4E55-8C54-A2CE86D2A740}" destId="{87914017-FA12-4127-A184-E034C1EC6480}" srcOrd="3" destOrd="0" parTransId="{F0E5AAF6-E516-4F11-97F6-F5ADCDD41BF9}" sibTransId="{4DC36D43-C191-4DCB-B6C6-54C4BECDF020}"/>
    <dgm:cxn modelId="{88AC068A-BA0C-4BE8-9CA2-D5EA93B65317}" type="presOf" srcId="{3D9335D1-031F-4F65-962F-9CDAB09D253B}" destId="{18D2B7CF-92DC-4C98-B7A8-681260E88B2C}"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87018493-5DCC-46DF-ADEB-440E6C1C91C8}" type="presOf" srcId="{C1933DE2-883B-467A-A497-FC1A03521BD0}" destId="{89164601-E0A1-4038-AED2-754D77EF4C41}" srcOrd="0" destOrd="0" presId="urn:microsoft.com/office/officeart/2005/8/layout/chevron2"/>
    <dgm:cxn modelId="{56A90894-A054-40DB-AC89-EF01EA3423D6}" srcId="{56D39143-023E-4C72-BBA5-EF173F9BD014}" destId="{3D9335D1-031F-4F65-962F-9CDAB09D253B}" srcOrd="0" destOrd="0" parTransId="{A8D602EA-28E3-40C4-B5A1-8DB7AC2DB7AE}" sibTransId="{354CC2F7-7518-4094-B82B-BC553913C535}"/>
    <dgm:cxn modelId="{64171CAC-7A3C-45A9-84AD-797ED4610BF4}" type="presOf" srcId="{87914017-FA12-4127-A184-E034C1EC6480}" destId="{62D4FF5F-BB58-4DAC-9260-24E1A247C3C5}" srcOrd="0" destOrd="0" presId="urn:microsoft.com/office/officeart/2005/8/layout/chevron2"/>
    <dgm:cxn modelId="{E309BFBF-A1BB-4F85-89CF-E531CEF7C843}" type="presOf" srcId="{56D39143-023E-4C72-BBA5-EF173F9BD014}" destId="{3DA4DBDD-86BF-4DC6-9D99-05C1C1BFB383}" srcOrd="0" destOrd="0" presId="urn:microsoft.com/office/officeart/2005/8/layout/chevron2"/>
    <dgm:cxn modelId="{F5A5FEDD-E52D-43C9-8D0E-0C952E7950B8}" type="presOf" srcId="{011C79E0-B116-4E55-8C54-A2CE86D2A740}" destId="{710DA7AD-DF2E-4B6F-8F66-B72A755643A6}" srcOrd="0" destOrd="0" presId="urn:microsoft.com/office/officeart/2005/8/layout/chevron2"/>
    <dgm:cxn modelId="{A67447F1-BB7B-4D3B-82E0-4E32EF97F94F}" srcId="{011C79E0-B116-4E55-8C54-A2CE86D2A740}" destId="{56D39143-023E-4C72-BBA5-EF173F9BD014}" srcOrd="2" destOrd="0" parTransId="{704DAA72-BD58-41D8-A497-12E1A4CC40DA}" sibTransId="{F979FFB3-6427-4249-90BE-69B53EC9AD13}"/>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 modelId="{23860E25-CD8C-4AC1-B68A-FB25A91BC140}" type="presParOf" srcId="{710DA7AD-DF2E-4B6F-8F66-B72A755643A6}" destId="{7F4255E7-FA3E-4176-8361-F3068433BD36}" srcOrd="1" destOrd="0" presId="urn:microsoft.com/office/officeart/2005/8/layout/chevron2"/>
    <dgm:cxn modelId="{0FDA4322-47B1-47D3-9119-2784D75CA99F}" type="presParOf" srcId="{710DA7AD-DF2E-4B6F-8F66-B72A755643A6}" destId="{E1AF1DC7-3446-4E70-A12E-3A13B2038890}" srcOrd="2" destOrd="0" presId="urn:microsoft.com/office/officeart/2005/8/layout/chevron2"/>
    <dgm:cxn modelId="{2748EC06-087A-4792-8284-2E838983AF18}" type="presParOf" srcId="{E1AF1DC7-3446-4E70-A12E-3A13B2038890}" destId="{89164601-E0A1-4038-AED2-754D77EF4C41}" srcOrd="0" destOrd="0" presId="urn:microsoft.com/office/officeart/2005/8/layout/chevron2"/>
    <dgm:cxn modelId="{9076968D-CA3F-4F41-9681-F8114BED2EAE}" type="presParOf" srcId="{E1AF1DC7-3446-4E70-A12E-3A13B2038890}" destId="{594D2AB4-91B5-4F18-9ACA-1D51E359B741}" srcOrd="1" destOrd="0" presId="urn:microsoft.com/office/officeart/2005/8/layout/chevron2"/>
    <dgm:cxn modelId="{8E07F895-B87A-456A-A492-8132DB0818A7}" type="presParOf" srcId="{710DA7AD-DF2E-4B6F-8F66-B72A755643A6}" destId="{99D9A01F-7B1E-4703-8363-07CEAF17D94C}" srcOrd="3" destOrd="0" presId="urn:microsoft.com/office/officeart/2005/8/layout/chevron2"/>
    <dgm:cxn modelId="{D32B60BF-8AFA-49A0-A64E-81D07E41B556}" type="presParOf" srcId="{710DA7AD-DF2E-4B6F-8F66-B72A755643A6}" destId="{F0A2DE8B-D10D-4031-BBF1-6A931FA34DEA}" srcOrd="4" destOrd="0" presId="urn:microsoft.com/office/officeart/2005/8/layout/chevron2"/>
    <dgm:cxn modelId="{7A2F8F54-E28B-49DF-A86C-0540E0757F76}" type="presParOf" srcId="{F0A2DE8B-D10D-4031-BBF1-6A931FA34DEA}" destId="{3DA4DBDD-86BF-4DC6-9D99-05C1C1BFB383}" srcOrd="0" destOrd="0" presId="urn:microsoft.com/office/officeart/2005/8/layout/chevron2"/>
    <dgm:cxn modelId="{6EBD4B51-5CCF-481D-B792-9B5BFA64197C}" type="presParOf" srcId="{F0A2DE8B-D10D-4031-BBF1-6A931FA34DEA}" destId="{18D2B7CF-92DC-4C98-B7A8-681260E88B2C}" srcOrd="1" destOrd="0" presId="urn:microsoft.com/office/officeart/2005/8/layout/chevron2"/>
    <dgm:cxn modelId="{4F82E95F-5FC3-4E92-8488-E70A428C0966}" type="presParOf" srcId="{710DA7AD-DF2E-4B6F-8F66-B72A755643A6}" destId="{C6BFF5ED-B2A4-46F5-8B3A-C809D8D3C566}" srcOrd="5" destOrd="0" presId="urn:microsoft.com/office/officeart/2005/8/layout/chevron2"/>
    <dgm:cxn modelId="{26D1ABFC-18E5-446E-A440-E45FFC993329}" type="presParOf" srcId="{710DA7AD-DF2E-4B6F-8F66-B72A755643A6}" destId="{7122DA74-36ED-4C3B-930E-E2653DF9234C}" srcOrd="6" destOrd="0" presId="urn:microsoft.com/office/officeart/2005/8/layout/chevron2"/>
    <dgm:cxn modelId="{3D87914C-53BF-459E-8AFB-62B6BD74BFC4}" type="presParOf" srcId="{7122DA74-36ED-4C3B-930E-E2653DF9234C}" destId="{62D4FF5F-BB58-4DAC-9260-24E1A247C3C5}" srcOrd="0" destOrd="0" presId="urn:microsoft.com/office/officeart/2005/8/layout/chevron2"/>
    <dgm:cxn modelId="{64AEA35D-8274-4730-8551-D751B5E7E319}" type="presParOf" srcId="{7122DA74-36ED-4C3B-930E-E2653DF9234C}" destId="{46F44EEA-00FF-478B-BA4D-FAA533FBEC40}"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236443" y="240363"/>
          <a:ext cx="1576288" cy="110340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marL="0" lvl="0" indent="0" algn="ctr" defTabSz="1377950">
            <a:lnSpc>
              <a:spcPct val="90000"/>
            </a:lnSpc>
            <a:spcBef>
              <a:spcPct val="0"/>
            </a:spcBef>
            <a:spcAft>
              <a:spcPct val="35000"/>
            </a:spcAft>
            <a:buNone/>
          </a:pPr>
          <a:r>
            <a:rPr lang="en-US" sz="3100" kern="1200" dirty="0"/>
            <a:t>1</a:t>
          </a:r>
        </a:p>
      </dsp:txBody>
      <dsp:txXfrm rot="-5400000">
        <a:off x="0" y="555621"/>
        <a:ext cx="1103402" cy="472886"/>
      </dsp:txXfrm>
    </dsp:sp>
    <dsp:sp modelId="{9770188F-3220-4119-9599-0FD33E998D96}">
      <dsp:nvSpPr>
        <dsp:cNvPr id="0" name=""/>
        <dsp:cNvSpPr/>
      </dsp:nvSpPr>
      <dsp:spPr>
        <a:xfrm rot="5400000">
          <a:off x="5637651" y="-4530329"/>
          <a:ext cx="1024587" cy="1009308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None/>
          </a:pPr>
          <a:r>
            <a:rPr lang="vi-VN" sz="2400" kern="1200">
              <a:latin typeface="Times New Roman" panose="02020603050405020304" pitchFamily="18" charset="0"/>
              <a:cs typeface="Times New Roman" panose="02020603050405020304" pitchFamily="18" charset="0"/>
            </a:rPr>
            <a:t>Tập trung chăm sóc và chuẩn bị sơ kết sản xuất vụ Đông Xuân, triển khai sản xuất vụ Hè Thu</a:t>
          </a:r>
          <a:r>
            <a:rPr lang="en-US" sz="2400" kern="1200">
              <a:latin typeface="Times New Roman" panose="02020603050405020304" pitchFamily="18" charset="0"/>
              <a:cs typeface="Times New Roman" panose="02020603050405020304" pitchFamily="18" charset="0"/>
            </a:rPr>
            <a:t>. </a:t>
          </a:r>
          <a:r>
            <a:rPr lang="nl-NL" sz="2400" kern="1200">
              <a:latin typeface="Times New Roman" panose="02020603050405020304" pitchFamily="18" charset="0"/>
              <a:cs typeface="Times New Roman" panose="02020603050405020304" pitchFamily="18" charset="0"/>
            </a:rPr>
            <a:t>Tập trung khắc phục cảnh báo của Ủy ban châu Âu về chống khai thác thủy sản bất hợp pháp (IUU)</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sp:txBody>
      <dsp:txXfrm rot="-5400000">
        <a:off x="1103402" y="53936"/>
        <a:ext cx="10043070" cy="924555"/>
      </dsp:txXfrm>
    </dsp:sp>
    <dsp:sp modelId="{89164601-E0A1-4038-AED2-754D77EF4C41}">
      <dsp:nvSpPr>
        <dsp:cNvPr id="0" name=""/>
        <dsp:cNvSpPr/>
      </dsp:nvSpPr>
      <dsp:spPr>
        <a:xfrm rot="5400000">
          <a:off x="-236443" y="1675024"/>
          <a:ext cx="1576288" cy="110340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marL="0" lvl="0" indent="0" algn="ctr" defTabSz="1377950">
            <a:lnSpc>
              <a:spcPct val="90000"/>
            </a:lnSpc>
            <a:spcBef>
              <a:spcPct val="0"/>
            </a:spcBef>
            <a:spcAft>
              <a:spcPct val="35000"/>
            </a:spcAft>
            <a:buNone/>
          </a:pPr>
          <a:r>
            <a:rPr lang="en-US" sz="3100" kern="1200" dirty="0"/>
            <a:t>2</a:t>
          </a:r>
        </a:p>
      </dsp:txBody>
      <dsp:txXfrm rot="-5400000">
        <a:off x="0" y="1990282"/>
        <a:ext cx="1103402" cy="472886"/>
      </dsp:txXfrm>
    </dsp:sp>
    <dsp:sp modelId="{594D2AB4-91B5-4F18-9ACA-1D51E359B741}">
      <dsp:nvSpPr>
        <dsp:cNvPr id="0" name=""/>
        <dsp:cNvSpPr/>
      </dsp:nvSpPr>
      <dsp:spPr>
        <a:xfrm rot="5400000">
          <a:off x="5637651" y="-3095668"/>
          <a:ext cx="1024587" cy="1009308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None/>
          </a:pPr>
          <a:r>
            <a:rPr lang="it-IT" sz="2400" kern="1200">
              <a:solidFill>
                <a:prstClr val="black">
                  <a:hueOff val="0"/>
                  <a:satOff val="0"/>
                  <a:lumOff val="0"/>
                  <a:alphaOff val="0"/>
                </a:prstClr>
              </a:solidFill>
              <a:latin typeface="Times New Roman" pitchFamily="18" charset="0"/>
              <a:ea typeface="+mn-ea"/>
              <a:cs typeface="Times New Roman" pitchFamily="18" charset="0"/>
            </a:rPr>
            <a:t>Tăng cường công tác quản lý đất đai, tài nguyên khoáng sản, bảo vệ môi trường. Triển khai quyết liệt, đồng bộ phương án xử lý vấn đề môi trường trên địa bàn tỉnh, nhất là trong thu gom, vận chuyển, xử lý rác, chất thải, nước thải</a:t>
          </a:r>
          <a:r>
            <a:rPr lang="vi-VN" sz="2400" kern="1200">
              <a:solidFill>
                <a:prstClr val="black">
                  <a:hueOff val="0"/>
                  <a:satOff val="0"/>
                  <a:lumOff val="0"/>
                  <a:alphaOff val="0"/>
                </a:prstClr>
              </a:solidFill>
              <a:latin typeface="Times New Roman" pitchFamily="18" charset="0"/>
              <a:ea typeface="+mn-ea"/>
              <a:cs typeface="Times New Roman" pitchFamily="18" charset="0"/>
            </a:rPr>
            <a:t>...</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sp:txBody>
      <dsp:txXfrm rot="-5400000">
        <a:off x="1103402" y="1488597"/>
        <a:ext cx="10043070" cy="924555"/>
      </dsp:txXfrm>
    </dsp:sp>
    <dsp:sp modelId="{3DA4DBDD-86BF-4DC6-9D99-05C1C1BFB383}">
      <dsp:nvSpPr>
        <dsp:cNvPr id="0" name=""/>
        <dsp:cNvSpPr/>
      </dsp:nvSpPr>
      <dsp:spPr>
        <a:xfrm rot="5400000">
          <a:off x="-236443" y="3133972"/>
          <a:ext cx="1576288" cy="110340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marL="0" lvl="0" indent="0" algn="ctr" defTabSz="1377950">
            <a:lnSpc>
              <a:spcPct val="90000"/>
            </a:lnSpc>
            <a:spcBef>
              <a:spcPct val="0"/>
            </a:spcBef>
            <a:spcAft>
              <a:spcPct val="35000"/>
            </a:spcAft>
            <a:buNone/>
          </a:pPr>
          <a:r>
            <a:rPr lang="en-US" sz="3100" kern="1200" dirty="0"/>
            <a:t>3</a:t>
          </a:r>
        </a:p>
      </dsp:txBody>
      <dsp:txXfrm rot="-5400000">
        <a:off x="0" y="3449230"/>
        <a:ext cx="1103402" cy="472886"/>
      </dsp:txXfrm>
    </dsp:sp>
    <dsp:sp modelId="{18D2B7CF-92DC-4C98-B7A8-681260E88B2C}">
      <dsp:nvSpPr>
        <dsp:cNvPr id="0" name=""/>
        <dsp:cNvSpPr/>
      </dsp:nvSpPr>
      <dsp:spPr>
        <a:xfrm rot="5400000">
          <a:off x="5613363" y="-1636720"/>
          <a:ext cx="1073163" cy="1009308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None/>
          </a:pPr>
          <a:r>
            <a:rPr lang="it-IT"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Chủ động nắm bắt tình hình hoạt động của các doanh nghiệp; kịp thời hỗ trợ tháo gỡ khó khăn, vướng mắc để doanh nghiệp sản xuất, kinh doanh hiệu quả</a:t>
          </a:r>
          <a:r>
            <a:rPr lang="vi-VN"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it-IT"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riển khai các giải pháp kích cầu, thúc đẩy thương mại, dịch vụ, du lịch</a:t>
          </a:r>
          <a:r>
            <a:rPr lang="vi-VN"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rot="-5400000">
        <a:off x="1103402" y="2925628"/>
        <a:ext cx="10040699" cy="968389"/>
      </dsp:txXfrm>
    </dsp:sp>
    <dsp:sp modelId="{62D4FF5F-BB58-4DAC-9260-24E1A247C3C5}">
      <dsp:nvSpPr>
        <dsp:cNvPr id="0" name=""/>
        <dsp:cNvSpPr/>
      </dsp:nvSpPr>
      <dsp:spPr>
        <a:xfrm rot="5400000">
          <a:off x="-236443" y="4622138"/>
          <a:ext cx="1576288" cy="110340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marL="0" lvl="0" indent="0" algn="ctr" defTabSz="1377950">
            <a:lnSpc>
              <a:spcPct val="90000"/>
            </a:lnSpc>
            <a:spcBef>
              <a:spcPct val="0"/>
            </a:spcBef>
            <a:spcAft>
              <a:spcPct val="35000"/>
            </a:spcAft>
            <a:buNone/>
          </a:pPr>
          <a:r>
            <a:rPr lang="en-US" sz="3100" kern="1200" dirty="0"/>
            <a:t>4</a:t>
          </a:r>
        </a:p>
      </dsp:txBody>
      <dsp:txXfrm rot="-5400000">
        <a:off x="0" y="4937396"/>
        <a:ext cx="1103402" cy="472886"/>
      </dsp:txXfrm>
    </dsp:sp>
    <dsp:sp modelId="{46F44EEA-00FF-478B-BA4D-FAA533FBEC40}">
      <dsp:nvSpPr>
        <dsp:cNvPr id="0" name=""/>
        <dsp:cNvSpPr/>
      </dsp:nvSpPr>
      <dsp:spPr>
        <a:xfrm rot="5400000">
          <a:off x="5558090" y="-74046"/>
          <a:ext cx="1123757" cy="10031720"/>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None/>
          </a:pPr>
          <a:r>
            <a:rPr lang="nl-NL"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iếp tục đ</a:t>
          </a:r>
          <a:r>
            <a:rPr lang="it-IT"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ẩy mạnh công tác quảng bá, kêu gọi, thu hút các dự án vào Khu kinh tế Nhơn Hội, các khu, cụm công nghiệp và các khu, điểm du lịch. Tạo điều kiện cho các nhà đầu tư đẩy nhanh tiến độ xây dựng, </a:t>
          </a:r>
          <a:r>
            <a:rPr lang="vi-VN"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sớm</a:t>
          </a:r>
          <a:r>
            <a:rPr lang="it-IT"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đi vào hoạt động </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rot="-5400000">
        <a:off x="1104109" y="4434792"/>
        <a:ext cx="9976863" cy="10140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220296" y="365650"/>
          <a:ext cx="1468646" cy="102805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kern="1200"/>
            <a:t>5</a:t>
          </a:r>
          <a:endParaRPr lang="en-US" sz="2800" kern="1200" dirty="0"/>
        </a:p>
      </dsp:txBody>
      <dsp:txXfrm rot="-5400000">
        <a:off x="1" y="659379"/>
        <a:ext cx="1028052" cy="440594"/>
      </dsp:txXfrm>
    </dsp:sp>
    <dsp:sp modelId="{9770188F-3220-4119-9599-0FD33E998D96}">
      <dsp:nvSpPr>
        <dsp:cNvPr id="0" name=""/>
        <dsp:cNvSpPr/>
      </dsp:nvSpPr>
      <dsp:spPr>
        <a:xfrm rot="5400000">
          <a:off x="5349167" y="-4313165"/>
          <a:ext cx="1229426" cy="9871657"/>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None/>
          </a:pPr>
          <a:r>
            <a:rPr lang="it-IT" sz="2400" kern="1200">
              <a:solidFill>
                <a:prstClr val="black">
                  <a:hueOff val="0"/>
                  <a:satOff val="0"/>
                  <a:lumOff val="0"/>
                  <a:alphaOff val="0"/>
                </a:prstClr>
              </a:solidFill>
              <a:latin typeface="Times New Roman" pitchFamily="18" charset="0"/>
              <a:ea typeface="+mn-ea"/>
              <a:cs typeface="Times New Roman" pitchFamily="18" charset="0"/>
            </a:rPr>
            <a:t>Tập trung đẩy nhanh tiến độ GPMB dự án Cao tốc Bắc – Nam qua địa bàn tỉnh</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sp:txBody>
      <dsp:txXfrm rot="-5400000">
        <a:off x="1028052" y="67966"/>
        <a:ext cx="9811641" cy="1109394"/>
      </dsp:txXfrm>
    </dsp:sp>
    <dsp:sp modelId="{89164601-E0A1-4038-AED2-754D77EF4C41}">
      <dsp:nvSpPr>
        <dsp:cNvPr id="0" name=""/>
        <dsp:cNvSpPr/>
      </dsp:nvSpPr>
      <dsp:spPr>
        <a:xfrm rot="5400000">
          <a:off x="-220296" y="1694236"/>
          <a:ext cx="1468646" cy="102805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kern="1200"/>
            <a:t>6</a:t>
          </a:r>
          <a:endParaRPr lang="en-US" sz="2800" kern="1200" dirty="0"/>
        </a:p>
      </dsp:txBody>
      <dsp:txXfrm rot="-5400000">
        <a:off x="1" y="1987965"/>
        <a:ext cx="1028052" cy="440594"/>
      </dsp:txXfrm>
    </dsp:sp>
    <dsp:sp modelId="{594D2AB4-91B5-4F18-9ACA-1D51E359B741}">
      <dsp:nvSpPr>
        <dsp:cNvPr id="0" name=""/>
        <dsp:cNvSpPr/>
      </dsp:nvSpPr>
      <dsp:spPr>
        <a:xfrm rot="5400000">
          <a:off x="5486571" y="-2984579"/>
          <a:ext cx="954620" cy="9871657"/>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None/>
          </a:pPr>
          <a:r>
            <a:rPr lang="en-US" sz="2400" b="0" kern="1200">
              <a:solidFill>
                <a:prstClr val="black">
                  <a:hueOff val="0"/>
                  <a:satOff val="0"/>
                  <a:lumOff val="0"/>
                  <a:alphaOff val="0"/>
                </a:prstClr>
              </a:solidFill>
              <a:latin typeface="Times New Roman" pitchFamily="18" charset="0"/>
              <a:ea typeface="+mn-ea"/>
              <a:cs typeface="Times New Roman" pitchFamily="18" charset="0"/>
            </a:rPr>
            <a:t>Tăng cường công tác quản lý thu, đôn đốc thu, chống tình trạng thất thu, lạm thu, giảm nợ đọng thuế. Tiếp tục hỗ trợ doanh nghiệp thụ hưởng tối đa các chính sách ưu đãi, hỗ trợ tháo gỡ khó khăn do Quốc hội, Chính phủ ban hành</a:t>
          </a:r>
          <a:endParaRPr lang="en-US" sz="2400" b="0" kern="1200" dirty="0">
            <a:solidFill>
              <a:prstClr val="black">
                <a:hueOff val="0"/>
                <a:satOff val="0"/>
                <a:lumOff val="0"/>
                <a:alphaOff val="0"/>
              </a:prstClr>
            </a:solidFill>
            <a:latin typeface="Times New Roman" pitchFamily="18" charset="0"/>
            <a:ea typeface="+mn-ea"/>
            <a:cs typeface="Times New Roman" pitchFamily="18" charset="0"/>
          </a:endParaRPr>
        </a:p>
      </dsp:txBody>
      <dsp:txXfrm rot="-5400000">
        <a:off x="1028053" y="1520540"/>
        <a:ext cx="9825056" cy="861418"/>
      </dsp:txXfrm>
    </dsp:sp>
    <dsp:sp modelId="{3DA4DBDD-86BF-4DC6-9D99-05C1C1BFB383}">
      <dsp:nvSpPr>
        <dsp:cNvPr id="0" name=""/>
        <dsp:cNvSpPr/>
      </dsp:nvSpPr>
      <dsp:spPr>
        <a:xfrm rot="5400000">
          <a:off x="-220296" y="3022821"/>
          <a:ext cx="1468646" cy="102805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kern="1200"/>
            <a:t>7</a:t>
          </a:r>
          <a:endParaRPr lang="en-US" sz="2800" kern="1200" dirty="0"/>
        </a:p>
      </dsp:txBody>
      <dsp:txXfrm rot="-5400000">
        <a:off x="1" y="3316550"/>
        <a:ext cx="1028052" cy="440594"/>
      </dsp:txXfrm>
    </dsp:sp>
    <dsp:sp modelId="{18D2B7CF-92DC-4C98-B7A8-681260E88B2C}">
      <dsp:nvSpPr>
        <dsp:cNvPr id="0" name=""/>
        <dsp:cNvSpPr/>
      </dsp:nvSpPr>
      <dsp:spPr>
        <a:xfrm rot="5400000">
          <a:off x="5495382" y="-1632301"/>
          <a:ext cx="936997" cy="9824273"/>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None/>
          </a:pPr>
          <a:r>
            <a:rPr lang="it-IT" sz="2400" kern="1200">
              <a:solidFill>
                <a:prstClr val="black">
                  <a:hueOff val="0"/>
                  <a:satOff val="0"/>
                  <a:lumOff val="0"/>
                  <a:alphaOff val="0"/>
                </a:prstClr>
              </a:solidFill>
              <a:latin typeface="Times New Roman" pitchFamily="18" charset="0"/>
              <a:ea typeface="+mn-ea"/>
              <a:cs typeface="Times New Roman" pitchFamily="18" charset="0"/>
            </a:rPr>
            <a:t>Tiếp tục chú trọng thực hiện đồng bộ các biện pháp phòng, chống</a:t>
          </a:r>
          <a:r>
            <a:rPr lang="vi-VN" sz="2400" kern="1200">
              <a:solidFill>
                <a:prstClr val="black">
                  <a:hueOff val="0"/>
                  <a:satOff val="0"/>
                  <a:lumOff val="0"/>
                  <a:alphaOff val="0"/>
                </a:prstClr>
              </a:solidFill>
              <a:latin typeface="Times New Roman" pitchFamily="18" charset="0"/>
              <a:ea typeface="+mn-ea"/>
              <a:cs typeface="Times New Roman" pitchFamily="18" charset="0"/>
            </a:rPr>
            <a:t> và tiêm vắc-xin phòng Covid-19. Đẩy mạnh các hoạt động </a:t>
          </a:r>
          <a:r>
            <a:rPr lang="it-IT" sz="2400" kern="1200">
              <a:solidFill>
                <a:prstClr val="black">
                  <a:hueOff val="0"/>
                  <a:satOff val="0"/>
                  <a:lumOff val="0"/>
                  <a:alphaOff val="0"/>
                </a:prstClr>
              </a:solidFill>
              <a:latin typeface="Times New Roman" pitchFamily="18" charset="0"/>
              <a:ea typeface="+mn-ea"/>
              <a:cs typeface="Times New Roman" pitchFamily="18" charset="0"/>
            </a:rPr>
            <a:t>trên các lĩnh vực y tế, giáo dục, văn hóa, thể dục thể thao</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sp:txBody>
      <dsp:txXfrm rot="-5400000">
        <a:off x="1051744" y="2857077"/>
        <a:ext cx="9778533" cy="845517"/>
      </dsp:txXfrm>
    </dsp:sp>
    <dsp:sp modelId="{62D4FF5F-BB58-4DAC-9260-24E1A247C3C5}">
      <dsp:nvSpPr>
        <dsp:cNvPr id="0" name=""/>
        <dsp:cNvSpPr/>
      </dsp:nvSpPr>
      <dsp:spPr>
        <a:xfrm rot="5400000">
          <a:off x="-220296" y="4368679"/>
          <a:ext cx="1468646" cy="102805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kern="1200"/>
            <a:t>8</a:t>
          </a:r>
          <a:endParaRPr lang="en-US" sz="2800" kern="1200" dirty="0"/>
        </a:p>
      </dsp:txBody>
      <dsp:txXfrm rot="-5400000">
        <a:off x="1" y="4662408"/>
        <a:ext cx="1028052" cy="440594"/>
      </dsp:txXfrm>
    </dsp:sp>
    <dsp:sp modelId="{46F44EEA-00FF-478B-BA4D-FAA533FBEC40}">
      <dsp:nvSpPr>
        <dsp:cNvPr id="0" name=""/>
        <dsp:cNvSpPr/>
      </dsp:nvSpPr>
      <dsp:spPr>
        <a:xfrm rot="5400000">
          <a:off x="5477249" y="-292407"/>
          <a:ext cx="973263" cy="9871657"/>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None/>
          </a:pPr>
          <a:r>
            <a:rPr lang="it-IT" sz="2400" kern="1200">
              <a:solidFill>
                <a:prstClr val="black">
                  <a:hueOff val="0"/>
                  <a:satOff val="0"/>
                  <a:lumOff val="0"/>
                  <a:alphaOff val="0"/>
                </a:prstClr>
              </a:solidFill>
              <a:latin typeface="Times New Roman" pitchFamily="18" charset="0"/>
              <a:ea typeface="+mn-ea"/>
              <a:cs typeface="Times New Roman" pitchFamily="18" charset="0"/>
            </a:rPr>
            <a:t>Tập trung hoàn thiện nội dung, tài liệu đào tạo, bồi dưỡng nâng cao trình độ năng lực cho cán bộ cấp xã trên địa bàn tỉnh, nghiên cứu </a:t>
          </a:r>
          <a:r>
            <a:rPr lang="en-US" sz="2400" kern="1200">
              <a:solidFill>
                <a:prstClr val="black">
                  <a:hueOff val="0"/>
                  <a:satOff val="0"/>
                  <a:lumOff val="0"/>
                  <a:alphaOff val="0"/>
                </a:prstClr>
              </a:solidFill>
              <a:latin typeface="Times New Roman" pitchFamily="18" charset="0"/>
              <a:ea typeface="+mn-ea"/>
              <a:cs typeface="Times New Roman" pitchFamily="18" charset="0"/>
            </a:rPr>
            <a:t>số hóa tài liệu đào tạo</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sp:txBody>
      <dsp:txXfrm rot="-5400000">
        <a:off x="1028053" y="4204300"/>
        <a:ext cx="9824146" cy="878241"/>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37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14763" y="0"/>
            <a:ext cx="2919412" cy="493713"/>
          </a:xfrm>
          <a:prstGeom prst="rect">
            <a:avLst/>
          </a:prstGeom>
        </p:spPr>
        <p:txBody>
          <a:bodyPr vert="horz" lIns="91440" tIns="45720" rIns="91440" bIns="45720" rtlCol="0"/>
          <a:lstStyle>
            <a:lvl1pPr algn="r">
              <a:defRPr sz="1200"/>
            </a:lvl1pPr>
          </a:lstStyle>
          <a:p>
            <a:fld id="{B13A25BA-8A98-4EEA-8689-C0028DE6E2D9}" type="datetimeFigureOut">
              <a:rPr lang="en-US" smtClean="0"/>
              <a:t>3/9/2023</a:t>
            </a:fld>
            <a:endParaRPr lang="en-US"/>
          </a:p>
        </p:txBody>
      </p:sp>
      <p:sp>
        <p:nvSpPr>
          <p:cNvPr id="4" name="Footer Placeholder 3"/>
          <p:cNvSpPr>
            <a:spLocks noGrp="1"/>
          </p:cNvSpPr>
          <p:nvPr>
            <p:ph type="ftr" sz="quarter" idx="2"/>
          </p:nvPr>
        </p:nvSpPr>
        <p:spPr>
          <a:xfrm>
            <a:off x="0" y="9371013"/>
            <a:ext cx="2919413" cy="4937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14763" y="9371013"/>
            <a:ext cx="2919412" cy="493712"/>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3769496F-9A71-4833-9730-4D2CD16F06D7}" type="datetimeFigureOut">
              <a:rPr lang="en-US" smtClean="0"/>
              <a:t>3/9/2023</a:t>
            </a:fld>
            <a:endParaRPr lang="en-US"/>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FAF8F-956A-473C-8D25-2FC25ECD8E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79695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374654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836459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823606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40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461489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437252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947723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704451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287624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12588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37902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99926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647683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00865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1168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275576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279514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990648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3/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3/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3/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5499AC-552A-459C-ADE0-B317E3F6822D}" type="datetime1">
              <a:rPr lang="en-US" smtClean="0">
                <a:solidFill>
                  <a:prstClr val="black">
                    <a:tint val="75000"/>
                  </a:prstClr>
                </a:solidFill>
              </a:rPr>
              <a:t>3/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65482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C62ED7-F7B0-4FF8-BD19-7361FF1B6B6C}" type="datetime1">
              <a:rPr lang="en-US" smtClean="0">
                <a:solidFill>
                  <a:prstClr val="black">
                    <a:tint val="75000"/>
                  </a:prstClr>
                </a:solidFill>
              </a:rPr>
              <a:t>3/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91874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BF3C5F-052E-4ADC-B2C1-0C749083E065}" type="datetime1">
              <a:rPr lang="en-US" smtClean="0">
                <a:solidFill>
                  <a:prstClr val="black">
                    <a:tint val="75000"/>
                  </a:prstClr>
                </a:solidFill>
              </a:rPr>
              <a:t>3/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72676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9C83293-D424-43FC-9854-D5AF3EAA3B2F}" type="datetime1">
              <a:rPr lang="en-US" smtClean="0">
                <a:solidFill>
                  <a:prstClr val="black">
                    <a:tint val="75000"/>
                  </a:prstClr>
                </a:solidFill>
              </a:rPr>
              <a:t>3/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22637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451BB24-B24C-4E96-96FD-3964D3CA77EE}" type="datetime1">
              <a:rPr lang="en-US" smtClean="0">
                <a:solidFill>
                  <a:prstClr val="black">
                    <a:tint val="75000"/>
                  </a:prstClr>
                </a:solidFill>
              </a:rPr>
              <a:t>3/9/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53370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53F58D-D92B-48FB-8F0F-3BD6ED8A8D88}" type="datetime1">
              <a:rPr lang="en-US" smtClean="0">
                <a:solidFill>
                  <a:prstClr val="black">
                    <a:tint val="75000"/>
                  </a:prstClr>
                </a:solidFill>
              </a:rPr>
              <a:t>3/9/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8047483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3/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0F0C49-B718-4DBF-9CD5-AF076E6C4F62}" type="datetime1">
              <a:rPr lang="en-US" smtClean="0">
                <a:solidFill>
                  <a:prstClr val="black">
                    <a:tint val="75000"/>
                  </a:prstClr>
                </a:solidFill>
              </a:rPr>
              <a:t>3/9/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1443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7D284D6-ED95-4EE4-A014-2FFAAF555D19}" type="datetime1">
              <a:rPr lang="en-US" smtClean="0">
                <a:solidFill>
                  <a:prstClr val="black">
                    <a:tint val="75000"/>
                  </a:prstClr>
                </a:solidFill>
              </a:rPr>
              <a:t>3/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54974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543612F-5B49-4879-B99A-F14DF3D27031}" type="datetime1">
              <a:rPr lang="en-US" smtClean="0">
                <a:solidFill>
                  <a:prstClr val="black">
                    <a:tint val="75000"/>
                  </a:prstClr>
                </a:solidFill>
              </a:rPr>
              <a:t>3/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63917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A64286-EBB9-4DD2-BE4A-BDAE3ACBDFA5}" type="datetime1">
              <a:rPr lang="en-US" smtClean="0">
                <a:solidFill>
                  <a:prstClr val="black">
                    <a:tint val="75000"/>
                  </a:prstClr>
                </a:solidFill>
              </a:rPr>
              <a:t>3/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89390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164894-728A-43C7-808A-BF58C7990684}" type="datetime1">
              <a:rPr lang="en-US" smtClean="0">
                <a:solidFill>
                  <a:prstClr val="black">
                    <a:tint val="75000"/>
                  </a:prstClr>
                </a:solidFill>
              </a:rPr>
              <a:t>3/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7326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37589091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23232135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3/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3/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3/9/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3/9/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3/9/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3/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3/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3/9/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4DD5FDE-F135-48DD-A941-D334C99FBE0F}" type="datetime1">
              <a:rPr lang="en-US" smtClean="0">
                <a:solidFill>
                  <a:prstClr val="black">
                    <a:tint val="75000"/>
                  </a:prstClr>
                </a:solidFill>
              </a:rPr>
              <a:t>3/9/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481221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30" r:id="rId12"/>
    <p:sldLayoutId id="2147483931"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5.png"/><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6.xml"/><Relationship Id="rId1" Type="http://schemas.openxmlformats.org/officeDocument/2006/relationships/tags" Target="../tags/tag6.xml"/><Relationship Id="rId6" Type="http://schemas.openxmlformats.org/officeDocument/2006/relationships/image" Target="../media/image7.jpg"/><Relationship Id="rId5" Type="http://schemas.openxmlformats.org/officeDocument/2006/relationships/image" Target="../media/image6.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g"/><Relationship Id="rId1" Type="http://schemas.openxmlformats.org/officeDocument/2006/relationships/slideLayout" Target="../slideLayouts/slideLayout25.xml"/><Relationship Id="rId4" Type="http://schemas.openxmlformats.org/officeDocument/2006/relationships/image" Target="../media/image10.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8" Type="http://schemas.openxmlformats.org/officeDocument/2006/relationships/hyperlink" Target="file:///C:\Users\PC\AppData\Local\Microsoft\Windows\INetCache\Content.MSO\06%20-%20Ph&#249;%20M&#7929;.xlsx" TargetMode="External"/><Relationship Id="rId13" Type="http://schemas.openxmlformats.org/officeDocument/2006/relationships/hyperlink" Target="file:///C:\Users\PC\AppData\Local\Microsoft\Windows\INetCache\Content.MSO\11%20-%20V&#297;nh%20Th&#7841;nh.xlsx" TargetMode="External"/><Relationship Id="rId3" Type="http://schemas.openxmlformats.org/officeDocument/2006/relationships/hyperlink" Target="file:///C:\Users\PC\AppData\Local\Microsoft\Windows\INetCache\Content.MSO\01%20-%20Quy%20Nh&#417;n.xlsx" TargetMode="External"/><Relationship Id="rId7" Type="http://schemas.openxmlformats.org/officeDocument/2006/relationships/hyperlink" Target="file:///C:\Users\PC\AppData\Local\Microsoft\Windows\INetCache\Content.MSO\05%20-%20Ph&#249;%20C&#225;t.xlsx" TargetMode="External"/><Relationship Id="rId12" Type="http://schemas.openxmlformats.org/officeDocument/2006/relationships/hyperlink" Target="file:///C:\Users\PC\AppData\Local\Microsoft\Windows\INetCache\Content.MSO\10%20-%20V&#226;n%20Canh.xlsx" TargetMode="External"/><Relationship Id="rId2" Type="http://schemas.openxmlformats.org/officeDocument/2006/relationships/hyperlink" Target="file:///C:\Users\PC\AppData\Local\Microsoft\Windows\INetCache\Content.MSO\00%20-%20S&#7903;%20ng&#224;nh.xlsx" TargetMode="External"/><Relationship Id="rId1" Type="http://schemas.openxmlformats.org/officeDocument/2006/relationships/slideLayout" Target="../slideLayouts/slideLayout25.xml"/><Relationship Id="rId6" Type="http://schemas.openxmlformats.org/officeDocument/2006/relationships/hyperlink" Target="file:///C:\Users\PC\AppData\Local\Microsoft\Windows\INetCache\Content.MSO\04%20-%20Tuy%20Ph&#432;&#7899;c.xlsx" TargetMode="External"/><Relationship Id="rId11" Type="http://schemas.openxmlformats.org/officeDocument/2006/relationships/hyperlink" Target="file:///C:\Users\PC\AppData\Local\Microsoft\Windows\INetCache\Content.MSO\09%20-%20An%20L&#227;o.xlsx" TargetMode="External"/><Relationship Id="rId5" Type="http://schemas.openxmlformats.org/officeDocument/2006/relationships/hyperlink" Target="file:///C:\Users\PC\AppData\Local\Microsoft\Windows\INetCache\Content.MSO\03%20-%20Ho&#224;i%20Nh&#417;n.xlsx" TargetMode="External"/><Relationship Id="rId10" Type="http://schemas.openxmlformats.org/officeDocument/2006/relationships/hyperlink" Target="file:///C:\Users\PC\AppData\Local\Microsoft\Windows\INetCache\Content.MSO\08%20-%20Ho&#224;i%20&#194;n.xlsx" TargetMode="External"/><Relationship Id="rId4" Type="http://schemas.openxmlformats.org/officeDocument/2006/relationships/hyperlink" Target="file:///C:\Users\PC\AppData\Local\Microsoft\Windows\INetCache\Content.MSO\02%20-%20An%20Nh&#417;n.xlsx" TargetMode="External"/><Relationship Id="rId9" Type="http://schemas.openxmlformats.org/officeDocument/2006/relationships/hyperlink" Target="file:///C:\Users\PC\AppData\Local\Microsoft\Windows\INetCache\Content.MSO\07%20-%20T&#226;y%20S&#417;n.xlsx" TargetMode="External"/></Relationships>
</file>

<file path=ppt/slides/_rels/slide2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5.xml"/><Relationship Id="rId4" Type="http://schemas.openxmlformats.org/officeDocument/2006/relationships/image" Target="../media/image21.emf"/></Relationships>
</file>

<file path=ppt/slides/_rels/slide3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15.xml"/><Relationship Id="rId4" Type="http://schemas.openxmlformats.org/officeDocument/2006/relationships/image" Target="../media/image24.png"/></Relationships>
</file>

<file path=ppt/slides/_rels/slide3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25.xml"/><Relationship Id="rId4" Type="http://schemas.openxmlformats.org/officeDocument/2006/relationships/image" Target="../media/image27.png"/></Relationships>
</file>

<file path=ppt/slides/_rels/slide3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image" Target="../media/image30.jpeg"/><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g"/><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4.jpg"/><Relationship Id="rId1" Type="http://schemas.openxmlformats.org/officeDocument/2006/relationships/slideLayout" Target="../slideLayouts/slideLayout25.xml"/><Relationship Id="rId4" Type="http://schemas.openxmlformats.org/officeDocument/2006/relationships/image" Target="../media/image36.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6.xml"/><Relationship Id="rId1" Type="http://schemas.openxmlformats.org/officeDocument/2006/relationships/tags" Target="../tags/tag7.xml"/><Relationship Id="rId6" Type="http://schemas.openxmlformats.org/officeDocument/2006/relationships/image" Target="../media/image37.jpg"/><Relationship Id="rId5" Type="http://schemas.openxmlformats.org/officeDocument/2006/relationships/image" Target="../media/image6.emf"/><Relationship Id="rId4" Type="http://schemas.openxmlformats.org/officeDocument/2006/relationships/oleObject" Target="../embeddings/oleObject4.bin"/></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asted-image.png">
            <a:extLst>
              <a:ext uri="{FF2B5EF4-FFF2-40B4-BE49-F238E27FC236}">
                <a16:creationId xmlns:a16="http://schemas.microsoft.com/office/drawing/2014/main" id="{8413E89C-B49A-4475-84BD-2CFB51B219DF}"/>
              </a:ext>
            </a:extLst>
          </p:cNvPr>
          <p:cNvPicPr>
            <a:picLocks noChangeAspect="1"/>
          </p:cNvPicPr>
          <p:nvPr/>
        </p:nvPicPr>
        <p:blipFill>
          <a:blip r:embed="rId3"/>
          <a:srcRect/>
          <a:stretch>
            <a:fillRect/>
          </a:stretch>
        </p:blipFill>
        <p:spPr>
          <a:xfrm flipH="1">
            <a:off x="2740721" y="11906"/>
            <a:ext cx="9451279" cy="6438900"/>
          </a:xfrm>
          <a:prstGeom prst="rect">
            <a:avLst/>
          </a:prstGeom>
          <a:effectLst>
            <a:softEdge rad="0"/>
          </a:effectLst>
        </p:spPr>
      </p:pic>
      <p:grpSp>
        <p:nvGrpSpPr>
          <p:cNvPr id="17" name="Group 16">
            <a:extLst>
              <a:ext uri="{FF2B5EF4-FFF2-40B4-BE49-F238E27FC236}">
                <a16:creationId xmlns:a16="http://schemas.microsoft.com/office/drawing/2014/main" id="{6BEB7F04-DEC3-47AD-A430-C67E8368B8AA}"/>
              </a:ext>
            </a:extLst>
          </p:cNvPr>
          <p:cNvGrpSpPr/>
          <p:nvPr/>
        </p:nvGrpSpPr>
        <p:grpSpPr>
          <a:xfrm>
            <a:off x="1" y="96451"/>
            <a:ext cx="10083566" cy="6438900"/>
            <a:chOff x="-109056" y="115017"/>
            <a:chExt cx="8408711" cy="6323177"/>
          </a:xfrm>
          <a:solidFill>
            <a:srgbClr val="6A2A5B">
              <a:alpha val="89000"/>
            </a:srgbClr>
          </a:solidFill>
        </p:grpSpPr>
        <p:sp>
          <p:nvSpPr>
            <p:cNvPr id="18" name="Pentagon 20">
              <a:extLst>
                <a:ext uri="{FF2B5EF4-FFF2-40B4-BE49-F238E27FC236}">
                  <a16:creationId xmlns:a16="http://schemas.microsoft.com/office/drawing/2014/main" id="{507A1D26-8631-40AC-AFE5-53E0147BBEA7}"/>
                </a:ext>
              </a:extLst>
            </p:cNvPr>
            <p:cNvSpPr/>
            <p:nvPr userDrawn="1"/>
          </p:nvSpPr>
          <p:spPr>
            <a:xfrm>
              <a:off x="-109056" y="115017"/>
              <a:ext cx="8228045" cy="6323177"/>
            </a:xfrm>
            <a:prstGeom prst="homePlate">
              <a:avLst/>
            </a:prstGeom>
            <a:solidFill>
              <a:srgbClr val="0164AE">
                <a:alpha val="9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351" dirty="0">
                <a:solidFill>
                  <a:srgbClr val="FFFFFF"/>
                </a:solidFill>
                <a:latin typeface="ＭＳ Ｐゴシック" panose="020B0600070205080204" pitchFamily="50" charset="-128"/>
                <a:ea typeface="ＭＳ Ｐゴシック" panose="020B0600070205080204" pitchFamily="50" charset="-128"/>
                <a:cs typeface="Mitr Medium" panose="00000600000000000000" pitchFamily="2" charset="-34"/>
              </a:endParaRPr>
            </a:p>
          </p:txBody>
        </p:sp>
        <p:pic>
          <p:nvPicPr>
            <p:cNvPr id="19" name="Picture 18">
              <a:extLst>
                <a:ext uri="{FF2B5EF4-FFF2-40B4-BE49-F238E27FC236}">
                  <a16:creationId xmlns:a16="http://schemas.microsoft.com/office/drawing/2014/main" id="{315DCEA7-C2DC-40D1-BACA-167C315695B6}"/>
                </a:ext>
              </a:extLst>
            </p:cNvPr>
            <p:cNvPicPr>
              <a:picLocks noChangeAspect="1"/>
            </p:cNvPicPr>
            <p:nvPr userDrawn="1"/>
          </p:nvPicPr>
          <p:blipFill>
            <a:blip r:embed="rId4"/>
            <a:stretch>
              <a:fillRect/>
            </a:stretch>
          </p:blipFill>
          <p:spPr>
            <a:xfrm>
              <a:off x="6589367" y="1345559"/>
              <a:ext cx="1710288" cy="4166883"/>
            </a:xfrm>
            <a:prstGeom prst="rect">
              <a:avLst/>
            </a:prstGeom>
            <a:noFill/>
          </p:spPr>
        </p:pic>
      </p:grpSp>
      <p:grpSp>
        <p:nvGrpSpPr>
          <p:cNvPr id="20" name="Group 19">
            <a:extLst>
              <a:ext uri="{FF2B5EF4-FFF2-40B4-BE49-F238E27FC236}">
                <a16:creationId xmlns:a16="http://schemas.microsoft.com/office/drawing/2014/main" id="{64BEBFA1-C7BB-4062-8115-9A1ABE0A7034}"/>
              </a:ext>
            </a:extLst>
          </p:cNvPr>
          <p:cNvGrpSpPr/>
          <p:nvPr/>
        </p:nvGrpSpPr>
        <p:grpSpPr>
          <a:xfrm>
            <a:off x="0" y="6462712"/>
            <a:ext cx="12196369" cy="408670"/>
            <a:chOff x="-4369" y="6508750"/>
            <a:chExt cx="12196369" cy="349250"/>
          </a:xfrm>
        </p:grpSpPr>
        <p:sp>
          <p:nvSpPr>
            <p:cNvPr id="21" name="Rectangle 11">
              <a:extLst>
                <a:ext uri="{FF2B5EF4-FFF2-40B4-BE49-F238E27FC236}">
                  <a16:creationId xmlns:a16="http://schemas.microsoft.com/office/drawing/2014/main" id="{CDCD82A2-682A-4780-8979-ED3B618E94C1}"/>
                </a:ext>
              </a:extLst>
            </p:cNvPr>
            <p:cNvSpPr/>
            <p:nvPr/>
          </p:nvSpPr>
          <p:spPr>
            <a:xfrm>
              <a:off x="-4369" y="6508750"/>
              <a:ext cx="6473749" cy="349250"/>
            </a:xfrm>
            <a:custGeom>
              <a:avLst/>
              <a:gdLst>
                <a:gd name="connsiteX0" fmla="*/ 0 w 6473749"/>
                <a:gd name="connsiteY0" fmla="*/ 0 h 514350"/>
                <a:gd name="connsiteX1" fmla="*/ 6473749 w 6473749"/>
                <a:gd name="connsiteY1" fmla="*/ 0 h 514350"/>
                <a:gd name="connsiteX2" fmla="*/ 6473749 w 6473749"/>
                <a:gd name="connsiteY2" fmla="*/ 514350 h 514350"/>
                <a:gd name="connsiteX3" fmla="*/ 0 w 6473749"/>
                <a:gd name="connsiteY3" fmla="*/ 514350 h 514350"/>
                <a:gd name="connsiteX4" fmla="*/ 0 w 6473749"/>
                <a:gd name="connsiteY4" fmla="*/ 0 h 514350"/>
                <a:gd name="connsiteX0" fmla="*/ 0 w 6473749"/>
                <a:gd name="connsiteY0" fmla="*/ 0 h 514350"/>
                <a:gd name="connsiteX1" fmla="*/ 6153709 w 6473749"/>
                <a:gd name="connsiteY1" fmla="*/ 0 h 514350"/>
                <a:gd name="connsiteX2" fmla="*/ 6473749 w 6473749"/>
                <a:gd name="connsiteY2" fmla="*/ 514350 h 514350"/>
                <a:gd name="connsiteX3" fmla="*/ 0 w 6473749"/>
                <a:gd name="connsiteY3" fmla="*/ 514350 h 514350"/>
                <a:gd name="connsiteX4" fmla="*/ 0 w 6473749"/>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3749" h="514350">
                  <a:moveTo>
                    <a:pt x="0" y="0"/>
                  </a:moveTo>
                  <a:lnTo>
                    <a:pt x="6153709" y="0"/>
                  </a:lnTo>
                  <a:lnTo>
                    <a:pt x="6473749" y="514350"/>
                  </a:lnTo>
                  <a:lnTo>
                    <a:pt x="0" y="514350"/>
                  </a:lnTo>
                  <a:lnTo>
                    <a:pt x="0" y="0"/>
                  </a:lnTo>
                  <a:close/>
                </a:path>
              </a:pathLst>
            </a:custGeom>
            <a:solidFill>
              <a:srgbClr val="F44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4C23"/>
                </a:solidFill>
                <a:effectLst/>
                <a:uLnTx/>
                <a:uFillTx/>
                <a:latin typeface="Calibri" panose="020F0502020204030204"/>
                <a:ea typeface="+mn-ea"/>
                <a:cs typeface="+mn-cs"/>
              </a:endParaRPr>
            </a:p>
          </p:txBody>
        </p:sp>
        <p:sp>
          <p:nvSpPr>
            <p:cNvPr id="22" name="Rectangle 12">
              <a:extLst>
                <a:ext uri="{FF2B5EF4-FFF2-40B4-BE49-F238E27FC236}">
                  <a16:creationId xmlns:a16="http://schemas.microsoft.com/office/drawing/2014/main" id="{D70AE314-47AF-4463-A229-E5673DCD3E56}"/>
                </a:ext>
              </a:extLst>
            </p:cNvPr>
            <p:cNvSpPr/>
            <p:nvPr/>
          </p:nvSpPr>
          <p:spPr>
            <a:xfrm>
              <a:off x="6322219" y="6620854"/>
              <a:ext cx="5869781" cy="237145"/>
            </a:xfrm>
            <a:custGeom>
              <a:avLst/>
              <a:gdLst>
                <a:gd name="connsiteX0" fmla="*/ 0 w 5648325"/>
                <a:gd name="connsiteY0" fmla="*/ 0 h 428625"/>
                <a:gd name="connsiteX1" fmla="*/ 5648325 w 5648325"/>
                <a:gd name="connsiteY1" fmla="*/ 0 h 428625"/>
                <a:gd name="connsiteX2" fmla="*/ 5648325 w 5648325"/>
                <a:gd name="connsiteY2" fmla="*/ 428625 h 428625"/>
                <a:gd name="connsiteX3" fmla="*/ 0 w 5648325"/>
                <a:gd name="connsiteY3" fmla="*/ 428625 h 428625"/>
                <a:gd name="connsiteX4" fmla="*/ 0 w 5648325"/>
                <a:gd name="connsiteY4" fmla="*/ 0 h 428625"/>
                <a:gd name="connsiteX0" fmla="*/ 0 w 5869781"/>
                <a:gd name="connsiteY0" fmla="*/ 2381 h 428625"/>
                <a:gd name="connsiteX1" fmla="*/ 5869781 w 5869781"/>
                <a:gd name="connsiteY1" fmla="*/ 0 h 428625"/>
                <a:gd name="connsiteX2" fmla="*/ 5869781 w 5869781"/>
                <a:gd name="connsiteY2" fmla="*/ 428625 h 428625"/>
                <a:gd name="connsiteX3" fmla="*/ 221456 w 5869781"/>
                <a:gd name="connsiteY3" fmla="*/ 428625 h 428625"/>
                <a:gd name="connsiteX4" fmla="*/ 0 w 5869781"/>
                <a:gd name="connsiteY4" fmla="*/ 2381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9781" h="428625">
                  <a:moveTo>
                    <a:pt x="0" y="2381"/>
                  </a:moveTo>
                  <a:lnTo>
                    <a:pt x="5869781" y="0"/>
                  </a:lnTo>
                  <a:lnTo>
                    <a:pt x="5869781" y="428625"/>
                  </a:lnTo>
                  <a:lnTo>
                    <a:pt x="221456" y="428625"/>
                  </a:lnTo>
                  <a:lnTo>
                    <a:pt x="0" y="2381"/>
                  </a:lnTo>
                  <a:close/>
                </a:path>
              </a:pathLst>
            </a:custGeom>
            <a:solidFill>
              <a:srgbClr val="006C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7" name="Rectangle 6">
            <a:extLst>
              <a:ext uri="{FF2B5EF4-FFF2-40B4-BE49-F238E27FC236}">
                <a16:creationId xmlns:a16="http://schemas.microsoft.com/office/drawing/2014/main" id="{E508593D-8C0D-4163-9A4A-7D6922F8A0DF}"/>
              </a:ext>
            </a:extLst>
          </p:cNvPr>
          <p:cNvSpPr/>
          <p:nvPr/>
        </p:nvSpPr>
        <p:spPr>
          <a:xfrm>
            <a:off x="112948" y="2838847"/>
            <a:ext cx="8762604" cy="954107"/>
          </a:xfrm>
          <a:prstGeom prst="rect">
            <a:avLst/>
          </a:prstGeom>
        </p:spPr>
        <p:txBody>
          <a:bodyPr wrap="square">
            <a:spAutoFit/>
          </a:bodyPr>
          <a:lstStyle/>
          <a:p>
            <a:pPr algn="ctr"/>
            <a:r>
              <a:rPr lang="vi-VN" sz="2800" b="1">
                <a:solidFill>
                  <a:schemeClr val="bg1"/>
                </a:solidFill>
                <a:latin typeface="Times New Roman" panose="02020603050405020304" pitchFamily="18" charset="0"/>
                <a:cs typeface="Times New Roman" panose="02020603050405020304" pitchFamily="18" charset="0"/>
              </a:rPr>
              <a:t>BÁO CÁO TÌNH HÌNH KINH TẾ-XÃ HỘI THÁNG 02</a:t>
            </a:r>
          </a:p>
          <a:p>
            <a:pPr algn="ctr"/>
            <a:r>
              <a:rPr lang="vi-VN" sz="2800" b="1">
                <a:solidFill>
                  <a:schemeClr val="bg1"/>
                </a:solidFill>
                <a:latin typeface="Times New Roman" panose="02020603050405020304" pitchFamily="18" charset="0"/>
                <a:cs typeface="Times New Roman" panose="02020603050405020304" pitchFamily="18" charset="0"/>
              </a:rPr>
              <a:t>VÀ NHIỆM VỤ TRỌNG TÂM THÁNG 3 NĂM 2023</a:t>
            </a:r>
          </a:p>
        </p:txBody>
      </p:sp>
      <p:pic>
        <p:nvPicPr>
          <p:cNvPr id="23" name="Picture 22">
            <a:extLst>
              <a:ext uri="{FF2B5EF4-FFF2-40B4-BE49-F238E27FC236}">
                <a16:creationId xmlns:a16="http://schemas.microsoft.com/office/drawing/2014/main" id="{AFF07513-015F-41A9-A359-F024D1A336A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38208" y="470420"/>
            <a:ext cx="1964164" cy="1988507"/>
          </a:xfrm>
          <a:prstGeom prst="rect">
            <a:avLst/>
          </a:prstGeom>
        </p:spPr>
      </p:pic>
      <p:sp>
        <p:nvSpPr>
          <p:cNvPr id="27" name="Rectangle 26">
            <a:extLst>
              <a:ext uri="{FF2B5EF4-FFF2-40B4-BE49-F238E27FC236}">
                <a16:creationId xmlns:a16="http://schemas.microsoft.com/office/drawing/2014/main" id="{87251008-0654-48EC-B85B-8EA2BB576990}"/>
              </a:ext>
            </a:extLst>
          </p:cNvPr>
          <p:cNvSpPr/>
          <p:nvPr/>
        </p:nvSpPr>
        <p:spPr>
          <a:xfrm>
            <a:off x="1820412" y="5966044"/>
            <a:ext cx="4706224" cy="379591"/>
          </a:xfrm>
          <a:prstGeom prst="rect">
            <a:avLst/>
          </a:prstGeom>
        </p:spPr>
        <p:txBody>
          <a:bodyPr wrap="square">
            <a:spAutoFit/>
          </a:bodyPr>
          <a:lstStyle/>
          <a:p>
            <a:pPr algn="ctr"/>
            <a:r>
              <a:rPr lang="en-US" sz="2800" i="1" baseline="30000">
                <a:solidFill>
                  <a:schemeClr val="bg1"/>
                </a:solidFill>
                <a:latin typeface="Times New Roman" panose="02020603050405020304" pitchFamily="18" charset="0"/>
                <a:cs typeface="Times New Roman" panose="02020603050405020304" pitchFamily="18" charset="0"/>
              </a:rPr>
              <a:t>Bình Định, tháng 3 năm 2023</a:t>
            </a:r>
            <a:endParaRPr lang="en-US" sz="2800" i="1" baseline="3000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596329165"/>
      </p:ext>
    </p:extLst>
  </p:cSld>
  <p:clrMapOvr>
    <a:masterClrMapping/>
  </p:clrMapOvr>
  <p:transition spd="med">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352232" y="224597"/>
            <a:ext cx="11681460"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rPr>
              <a:t>VỀ GIAO CH</a:t>
            </a:r>
            <a:r>
              <a:rPr lang="en-US" sz="2600" b="1">
                <a:solidFill>
                  <a:srgbClr val="040206"/>
                </a:solidFill>
                <a:latin typeface="Times New Roman" panose="02020603050405020304" pitchFamily="18" charset="0"/>
                <a:cs typeface="Times New Roman" panose="02020603050405020304" pitchFamily="18" charset="0"/>
              </a:rPr>
              <a:t>Ỉ TIÊU KẾ HOẠCH NĂM 2023</a:t>
            </a:r>
            <a:endPar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2" name="Table 1">
            <a:extLst>
              <a:ext uri="{FF2B5EF4-FFF2-40B4-BE49-F238E27FC236}">
                <a16:creationId xmlns:a16="http://schemas.microsoft.com/office/drawing/2014/main" id="{FBFFDBCD-49A2-B604-F9E9-B81E95DF4EB5}"/>
              </a:ext>
            </a:extLst>
          </p:cNvPr>
          <p:cNvGraphicFramePr>
            <a:graphicFrameLocks noGrp="1"/>
          </p:cNvGraphicFramePr>
          <p:nvPr>
            <p:extLst>
              <p:ext uri="{D42A27DB-BD31-4B8C-83A1-F6EECF244321}">
                <p14:modId xmlns:p14="http://schemas.microsoft.com/office/powerpoint/2010/main" val="1385849611"/>
              </p:ext>
            </p:extLst>
          </p:nvPr>
        </p:nvGraphicFramePr>
        <p:xfrm>
          <a:off x="7197753" y="1253847"/>
          <a:ext cx="4904705" cy="3352800"/>
        </p:xfrm>
        <a:graphic>
          <a:graphicData uri="http://schemas.openxmlformats.org/drawingml/2006/table">
            <a:tbl>
              <a:tblPr firstRow="1" bandRow="1"/>
              <a:tblGrid>
                <a:gridCol w="4904705">
                  <a:extLst>
                    <a:ext uri="{9D8B030D-6E8A-4147-A177-3AD203B41FA5}">
                      <a16:colId xmlns:a16="http://schemas.microsoft.com/office/drawing/2014/main" val="3655493598"/>
                    </a:ext>
                  </a:extLst>
                </a:gridCol>
              </a:tblGrid>
              <a:tr h="292239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6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1" kern="1200">
                          <a:solidFill>
                            <a:schemeClr val="dk1"/>
                          </a:solidFill>
                          <a:effectLst/>
                          <a:latin typeface="Times New Roman" panose="02020603050405020304" pitchFamily="18" charset="0"/>
                          <a:ea typeface="+mn-ea"/>
                          <a:cs typeface="Times New Roman" panose="02020603050405020304" pitchFamily="18" charset="0"/>
                        </a:rPr>
                        <a:t>Tây Sơn: </a:t>
                      </a:r>
                      <a:r>
                        <a:rPr lang="en-US" sz="2400" b="0" kern="1200">
                          <a:solidFill>
                            <a:schemeClr val="dk1"/>
                          </a:solidFill>
                          <a:effectLst/>
                          <a:latin typeface="Times New Roman" panose="02020603050405020304" pitchFamily="18" charset="0"/>
                          <a:ea typeface="+mn-ea"/>
                          <a:cs typeface="Times New Roman" panose="02020603050405020304" pitchFamily="18" charset="0"/>
                        </a:rPr>
                        <a:t>5/14 chỉ tiêu giao cao hơn thông báo của UBND tỉnh, 9/14 chỉ tiêu giao bằng với chỉ tiêu của tỉnh thông báo.</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Đã giao chi tiết đến từng địa phương và đã phân rã cho từng tháng, quý, năm</a:t>
                      </a: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3" name="Table 2">
            <a:extLst>
              <a:ext uri="{FF2B5EF4-FFF2-40B4-BE49-F238E27FC236}">
                <a16:creationId xmlns:a16="http://schemas.microsoft.com/office/drawing/2014/main" id="{08E30D19-EDEA-C759-9BF4-50757C20F971}"/>
              </a:ext>
            </a:extLst>
          </p:cNvPr>
          <p:cNvGraphicFramePr>
            <a:graphicFrameLocks noGrp="1"/>
          </p:cNvGraphicFramePr>
          <p:nvPr>
            <p:extLst>
              <p:ext uri="{D42A27DB-BD31-4B8C-83A1-F6EECF244321}">
                <p14:modId xmlns:p14="http://schemas.microsoft.com/office/powerpoint/2010/main" val="908920962"/>
              </p:ext>
            </p:extLst>
          </p:nvPr>
        </p:nvGraphicFramePr>
        <p:xfrm>
          <a:off x="352232" y="907391"/>
          <a:ext cx="6845521" cy="5490901"/>
        </p:xfrm>
        <a:graphic>
          <a:graphicData uri="http://schemas.openxmlformats.org/drawingml/2006/table">
            <a:tbl>
              <a:tblPr>
                <a:tableStyleId>{5C22544A-7EE6-4342-B048-85BDC9FD1C3A}</a:tableStyleId>
              </a:tblPr>
              <a:tblGrid>
                <a:gridCol w="393651">
                  <a:extLst>
                    <a:ext uri="{9D8B030D-6E8A-4147-A177-3AD203B41FA5}">
                      <a16:colId xmlns:a16="http://schemas.microsoft.com/office/drawing/2014/main" val="1401007413"/>
                    </a:ext>
                  </a:extLst>
                </a:gridCol>
                <a:gridCol w="3249287">
                  <a:extLst>
                    <a:ext uri="{9D8B030D-6E8A-4147-A177-3AD203B41FA5}">
                      <a16:colId xmlns:a16="http://schemas.microsoft.com/office/drawing/2014/main" val="859297724"/>
                    </a:ext>
                  </a:extLst>
                </a:gridCol>
                <a:gridCol w="791750">
                  <a:extLst>
                    <a:ext uri="{9D8B030D-6E8A-4147-A177-3AD203B41FA5}">
                      <a16:colId xmlns:a16="http://schemas.microsoft.com/office/drawing/2014/main" val="1770891706"/>
                    </a:ext>
                  </a:extLst>
                </a:gridCol>
                <a:gridCol w="711685">
                  <a:extLst>
                    <a:ext uri="{9D8B030D-6E8A-4147-A177-3AD203B41FA5}">
                      <a16:colId xmlns:a16="http://schemas.microsoft.com/office/drawing/2014/main" val="3888708773"/>
                    </a:ext>
                  </a:extLst>
                </a:gridCol>
                <a:gridCol w="142337">
                  <a:extLst>
                    <a:ext uri="{9D8B030D-6E8A-4147-A177-3AD203B41FA5}">
                      <a16:colId xmlns:a16="http://schemas.microsoft.com/office/drawing/2014/main" val="2311426634"/>
                    </a:ext>
                  </a:extLst>
                </a:gridCol>
                <a:gridCol w="729477">
                  <a:extLst>
                    <a:ext uri="{9D8B030D-6E8A-4147-A177-3AD203B41FA5}">
                      <a16:colId xmlns:a16="http://schemas.microsoft.com/office/drawing/2014/main" val="3156292227"/>
                    </a:ext>
                  </a:extLst>
                </a:gridCol>
                <a:gridCol w="827334">
                  <a:extLst>
                    <a:ext uri="{9D8B030D-6E8A-4147-A177-3AD203B41FA5}">
                      <a16:colId xmlns:a16="http://schemas.microsoft.com/office/drawing/2014/main" val="3052990962"/>
                    </a:ext>
                  </a:extLst>
                </a:gridCol>
              </a:tblGrid>
              <a:tr h="401062">
                <a:tc>
                  <a:txBody>
                    <a:bodyPr/>
                    <a:lstStyle/>
                    <a:p>
                      <a:pPr algn="ctr" fontAlgn="ctr"/>
                      <a:r>
                        <a:rPr lang="vi-VN" sz="1050" u="none" strike="noStrike">
                          <a:effectLst/>
                          <a:latin typeface="+mj-lt"/>
                        </a:rPr>
                        <a:t>ST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Chỉ tiêu</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Đơn vị tính</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vi-VN" sz="1050" u="none" strike="noStrike">
                          <a:effectLst/>
                          <a:latin typeface="+mj-lt"/>
                        </a:rPr>
                        <a:t>Kế hoạch 2023 tỉnh giao</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a:txBody>
                    <a:bodyPr/>
                    <a:lstStyle/>
                    <a:p>
                      <a:pPr algn="ctr" fontAlgn="ctr"/>
                      <a:r>
                        <a:rPr lang="vi-VN" sz="1050" u="none" strike="noStrike">
                          <a:effectLst/>
                          <a:latin typeface="+mj-lt"/>
                        </a:rPr>
                        <a:t>Địa phương giao</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08718458"/>
                  </a:ext>
                </a:extLst>
              </a:tr>
              <a:tr h="202621">
                <a:tc>
                  <a:txBody>
                    <a:bodyPr/>
                    <a:lstStyle/>
                    <a:p>
                      <a:pPr algn="ctr" fontAlgn="ctr"/>
                      <a:r>
                        <a:rPr lang="vi-VN" sz="1050" u="none" strike="noStrike">
                          <a:effectLst/>
                          <a:latin typeface="+mj-lt"/>
                        </a:rPr>
                        <a:t>1</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ổng giá trị sản phẩm (giá so sánh)</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6.884.478</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6.886.145</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6.886.145</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16081218"/>
                  </a:ext>
                </a:extLst>
              </a:tr>
              <a:tr h="202621">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Nông, lâm, thuỷ sản</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723.823</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725.49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725.49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18628279"/>
                  </a:ext>
                </a:extLst>
              </a:tr>
              <a:tr h="202621">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Công nghiệp và xây dự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890.342</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890.342</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890.342</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5535343"/>
                  </a:ext>
                </a:extLst>
              </a:tr>
              <a:tr h="202621">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 Công nghiệp</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084.248</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084.248</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084.248</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87651419"/>
                  </a:ext>
                </a:extLst>
              </a:tr>
              <a:tr h="202621">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 Xây dự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806.094</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806.094</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806.094</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3791760"/>
                  </a:ext>
                </a:extLst>
              </a:tr>
              <a:tr h="202621">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Dịch vụ</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270.313</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270.313</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270.313</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502904"/>
                  </a:ext>
                </a:extLst>
              </a:tr>
              <a:tr h="202621">
                <a:tc>
                  <a:txBody>
                    <a:bodyPr/>
                    <a:lstStyle/>
                    <a:p>
                      <a:pPr algn="ctr" fontAlgn="ctr"/>
                      <a:r>
                        <a:rPr lang="vi-VN" sz="1050" u="none" strike="noStrike">
                          <a:effectLst/>
                          <a:latin typeface="+mj-lt"/>
                        </a:rPr>
                        <a:t>2</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ốc độ tăng giá trị sản phẩm</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7,61</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7,64</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7,64</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36551178"/>
                  </a:ext>
                </a:extLst>
              </a:tr>
              <a:tr h="202621">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Nông, lâm, thuỷ sản</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3,4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3,5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3,5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44656688"/>
                  </a:ext>
                </a:extLst>
              </a:tr>
              <a:tr h="202621">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Công nghiệp và xây dự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9,09</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9,09</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9,09</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0201368"/>
                  </a:ext>
                </a:extLst>
              </a:tr>
              <a:tr h="202621">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 Công nghiệp</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10,0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0,0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0,0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8369862"/>
                  </a:ext>
                </a:extLst>
              </a:tr>
              <a:tr h="202621">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 Xây dự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6,8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6,8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6,8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50482567"/>
                  </a:ext>
                </a:extLst>
              </a:tr>
              <a:tr h="202621">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Dịch vụ</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9,1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9,1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9,1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1168163"/>
                  </a:ext>
                </a:extLst>
              </a:tr>
              <a:tr h="226935">
                <a:tc>
                  <a:txBody>
                    <a:bodyPr/>
                    <a:lstStyle/>
                    <a:p>
                      <a:pPr algn="ctr" fontAlgn="ctr"/>
                      <a:r>
                        <a:rPr lang="vi-VN" sz="1050" u="none" strike="noStrike">
                          <a:effectLst/>
                          <a:latin typeface="+mj-lt"/>
                        </a:rPr>
                        <a:t>3</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Kim ngạch xuất khẩu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USD</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53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53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80704909"/>
                  </a:ext>
                </a:extLst>
              </a:tr>
              <a:tr h="202621">
                <a:tc>
                  <a:txBody>
                    <a:bodyPr/>
                    <a:lstStyle/>
                    <a:p>
                      <a:pPr algn="ctr" fontAlgn="ctr"/>
                      <a:r>
                        <a:rPr lang="vi-VN" sz="1050" u="none" strike="noStrike">
                          <a:solidFill>
                            <a:srgbClr val="FF0000"/>
                          </a:solidFill>
                          <a:effectLst/>
                          <a:latin typeface="+mj-lt"/>
                        </a:rPr>
                        <a:t>4</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solidFill>
                            <a:srgbClr val="FF0000"/>
                          </a:solidFill>
                          <a:effectLst/>
                          <a:latin typeface="+mj-lt"/>
                        </a:rPr>
                        <a:t>Tổng thu ngân sách trên địa bàn</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Triệu đồng</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210.620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538.567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53470249"/>
                  </a:ext>
                </a:extLst>
              </a:tr>
              <a:tr h="202621">
                <a:tc>
                  <a:txBody>
                    <a:bodyPr/>
                    <a:lstStyle/>
                    <a:p>
                      <a:pPr algn="ctr" fontAlgn="ctr"/>
                      <a:r>
                        <a:rPr lang="vi-VN" sz="1050" u="none" strike="noStrike">
                          <a:effectLst/>
                          <a:latin typeface="+mj-lt"/>
                        </a:rPr>
                        <a:t> </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Thu tiền sử dụng đấ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100.000 </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420.000 </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25036524"/>
                  </a:ext>
                </a:extLst>
              </a:tr>
              <a:tr h="202621">
                <a:tc>
                  <a:txBody>
                    <a:bodyPr/>
                    <a:lstStyle/>
                    <a:p>
                      <a:pPr algn="ctr" fontAlgn="ctr"/>
                      <a:r>
                        <a:rPr lang="vi-VN" sz="1050" u="none" strike="noStrike">
                          <a:effectLst/>
                          <a:latin typeface="+mj-lt"/>
                        </a:rPr>
                        <a:t>5</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Doanh thu bán lẻ hàng hóa và dịch vụ</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ỷ đồ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4.449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4.449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61433488"/>
                  </a:ext>
                </a:extLst>
              </a:tr>
              <a:tr h="202621">
                <a:tc>
                  <a:txBody>
                    <a:bodyPr/>
                    <a:lstStyle/>
                    <a:p>
                      <a:pPr algn="ctr" fontAlgn="ctr"/>
                      <a:r>
                        <a:rPr lang="vi-VN" sz="1050" u="none" strike="noStrike">
                          <a:solidFill>
                            <a:srgbClr val="FF0000"/>
                          </a:solidFill>
                          <a:effectLst/>
                          <a:latin typeface="+mj-lt"/>
                        </a:rPr>
                        <a:t>6</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solidFill>
                            <a:srgbClr val="FF0000"/>
                          </a:solidFill>
                          <a:effectLst/>
                          <a:latin typeface="+mj-lt"/>
                        </a:rPr>
                        <a:t>Tỷ lệ dân số tham gia bảo hiểm y tế</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94,50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95,00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87822886"/>
                  </a:ext>
                </a:extLst>
              </a:tr>
              <a:tr h="202621">
                <a:tc>
                  <a:txBody>
                    <a:bodyPr/>
                    <a:lstStyle/>
                    <a:p>
                      <a:pPr algn="ctr" fontAlgn="ctr"/>
                      <a:r>
                        <a:rPr lang="vi-VN" sz="1050" u="none" strike="noStrike">
                          <a:effectLst/>
                          <a:latin typeface="+mj-lt"/>
                        </a:rPr>
                        <a:t>7</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ỷ lệ trẻ em dưới 5 tuổi suy dinh dưỡng thể nhẹ cân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7,86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7,86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48283696"/>
                  </a:ext>
                </a:extLst>
              </a:tr>
              <a:tr h="202621">
                <a:tc>
                  <a:txBody>
                    <a:bodyPr/>
                    <a:lstStyle/>
                    <a:p>
                      <a:pPr algn="ctr" fontAlgn="ctr"/>
                      <a:r>
                        <a:rPr lang="vi-VN" sz="1050" u="none" strike="noStrike">
                          <a:effectLst/>
                          <a:latin typeface="+mj-lt"/>
                        </a:rPr>
                        <a:t>8</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Giảm tỷ lệ nghèo đa chiều</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2,58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2,58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02233235"/>
                  </a:ext>
                </a:extLst>
              </a:tr>
              <a:tr h="202621">
                <a:tc>
                  <a:txBody>
                    <a:bodyPr/>
                    <a:lstStyle/>
                    <a:p>
                      <a:pPr algn="ctr" fontAlgn="ctr"/>
                      <a:r>
                        <a:rPr lang="vi-VN" sz="1050" u="none" strike="noStrike">
                          <a:effectLst/>
                          <a:latin typeface="+mj-lt"/>
                        </a:rPr>
                        <a:t>9</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Bảo hiểm xã hội tự nguyện</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Người</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1.426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1.426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025151"/>
                  </a:ext>
                </a:extLst>
              </a:tr>
              <a:tr h="202621">
                <a:tc>
                  <a:txBody>
                    <a:bodyPr/>
                    <a:lstStyle/>
                    <a:p>
                      <a:pPr algn="ctr" fontAlgn="ctr"/>
                      <a:r>
                        <a:rPr lang="vi-VN" sz="1050" u="none" strike="noStrike">
                          <a:effectLst/>
                          <a:latin typeface="+mj-lt"/>
                        </a:rPr>
                        <a:t>10</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ạo việc làm mới</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Người</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2.00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2.00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55202551"/>
                  </a:ext>
                </a:extLst>
              </a:tr>
              <a:tr h="202621">
                <a:tc>
                  <a:txBody>
                    <a:bodyPr/>
                    <a:lstStyle/>
                    <a:p>
                      <a:pPr algn="ctr" fontAlgn="ctr"/>
                      <a:r>
                        <a:rPr lang="vi-VN" sz="1050" u="none" strike="noStrike">
                          <a:solidFill>
                            <a:srgbClr val="FF0000"/>
                          </a:solidFill>
                          <a:effectLst/>
                          <a:latin typeface="+mj-lt"/>
                        </a:rPr>
                        <a:t>11</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solidFill>
                            <a:srgbClr val="FF0000"/>
                          </a:solidFill>
                          <a:effectLst/>
                          <a:latin typeface="+mj-lt"/>
                        </a:rPr>
                        <a:t>Đào tạo nghề lao động nông thôn</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Người</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200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400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87870746"/>
                  </a:ext>
                </a:extLst>
              </a:tr>
              <a:tr h="202621">
                <a:tc>
                  <a:txBody>
                    <a:bodyPr/>
                    <a:lstStyle/>
                    <a:p>
                      <a:pPr algn="ctr" fontAlgn="ctr"/>
                      <a:r>
                        <a:rPr lang="vi-VN" sz="1050" u="none" strike="noStrike">
                          <a:effectLst/>
                          <a:latin typeface="+mj-lt"/>
                        </a:rPr>
                        <a:t>12</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ỷ lệ che phủ rừng</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56,34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56,34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78261530"/>
                  </a:ext>
                </a:extLst>
              </a:tr>
              <a:tr h="202621">
                <a:tc>
                  <a:txBody>
                    <a:bodyPr/>
                    <a:lstStyle/>
                    <a:p>
                      <a:pPr algn="ctr" fontAlgn="ctr"/>
                      <a:r>
                        <a:rPr lang="vi-VN" sz="1050" u="none" strike="noStrike">
                          <a:solidFill>
                            <a:srgbClr val="FF0000"/>
                          </a:solidFill>
                          <a:effectLst/>
                          <a:latin typeface="+mj-lt"/>
                        </a:rPr>
                        <a:t>13</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solidFill>
                            <a:srgbClr val="FF0000"/>
                          </a:solidFill>
                          <a:effectLst/>
                          <a:latin typeface="+mj-lt"/>
                        </a:rPr>
                        <a:t>Tỷ lệ dân cư đô thị sử dụng nước sạch</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93,42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99,15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81005007"/>
                  </a:ext>
                </a:extLst>
              </a:tr>
              <a:tr h="202621">
                <a:tc>
                  <a:txBody>
                    <a:bodyPr/>
                    <a:lstStyle/>
                    <a:p>
                      <a:pPr algn="ctr" fontAlgn="ctr"/>
                      <a:r>
                        <a:rPr lang="vi-VN" sz="1050" u="none" strike="noStrike">
                          <a:solidFill>
                            <a:srgbClr val="FF0000"/>
                          </a:solidFill>
                          <a:effectLst/>
                          <a:latin typeface="+mj-lt"/>
                        </a:rPr>
                        <a:t>14</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solidFill>
                            <a:srgbClr val="FF0000"/>
                          </a:solidFill>
                          <a:effectLst/>
                          <a:latin typeface="+mj-lt"/>
                        </a:rPr>
                        <a:t>Tỷ lệ chất thải rắn ở đô thị được thu gom</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77,00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80,00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8263701"/>
                  </a:ext>
                </a:extLst>
              </a:tr>
            </a:tbl>
          </a:graphicData>
        </a:graphic>
      </p:graphicFrame>
    </p:spTree>
    <p:extLst>
      <p:ext uri="{BB962C8B-B14F-4D97-AF65-F5344CB8AC3E}">
        <p14:creationId xmlns:p14="http://schemas.microsoft.com/office/powerpoint/2010/main" val="357512414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125730" y="380702"/>
            <a:ext cx="11681460"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rPr>
              <a:t>VỀ GIAO CH</a:t>
            </a:r>
            <a:r>
              <a:rPr lang="en-US" sz="2600" b="1">
                <a:solidFill>
                  <a:srgbClr val="040206"/>
                </a:solidFill>
                <a:latin typeface="Times New Roman" panose="02020603050405020304" pitchFamily="18" charset="0"/>
                <a:cs typeface="Times New Roman" panose="02020603050405020304" pitchFamily="18" charset="0"/>
              </a:rPr>
              <a:t>Ỉ TIÊU KẾ HOẠCH NĂM 2023</a:t>
            </a:r>
            <a:endPar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2" name="Table 1">
            <a:extLst>
              <a:ext uri="{FF2B5EF4-FFF2-40B4-BE49-F238E27FC236}">
                <a16:creationId xmlns:a16="http://schemas.microsoft.com/office/drawing/2014/main" id="{FBFFDBCD-49A2-B604-F9E9-B81E95DF4EB5}"/>
              </a:ext>
            </a:extLst>
          </p:cNvPr>
          <p:cNvGraphicFramePr>
            <a:graphicFrameLocks noGrp="1"/>
          </p:cNvGraphicFramePr>
          <p:nvPr>
            <p:extLst>
              <p:ext uri="{D42A27DB-BD31-4B8C-83A1-F6EECF244321}">
                <p14:modId xmlns:p14="http://schemas.microsoft.com/office/powerpoint/2010/main" val="2563379459"/>
              </p:ext>
            </p:extLst>
          </p:nvPr>
        </p:nvGraphicFramePr>
        <p:xfrm>
          <a:off x="6602136" y="1186735"/>
          <a:ext cx="5525596" cy="4419600"/>
        </p:xfrm>
        <a:graphic>
          <a:graphicData uri="http://schemas.openxmlformats.org/drawingml/2006/table">
            <a:tbl>
              <a:tblPr firstRow="1" bandRow="1"/>
              <a:tblGrid>
                <a:gridCol w="5525596">
                  <a:extLst>
                    <a:ext uri="{9D8B030D-6E8A-4147-A177-3AD203B41FA5}">
                      <a16:colId xmlns:a16="http://schemas.microsoft.com/office/drawing/2014/main" val="3655493598"/>
                    </a:ext>
                  </a:extLst>
                </a:gridCol>
              </a:tblGrid>
              <a:tr h="292239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1" kern="1200">
                          <a:solidFill>
                            <a:schemeClr val="dk1"/>
                          </a:solidFill>
                          <a:effectLst/>
                          <a:latin typeface="Times New Roman" panose="02020603050405020304" pitchFamily="18" charset="0"/>
                          <a:ea typeface="+mn-ea"/>
                          <a:cs typeface="Times New Roman" panose="02020603050405020304" pitchFamily="18" charset="0"/>
                        </a:rPr>
                        <a:t>Hoài Ân: </a:t>
                      </a:r>
                      <a:r>
                        <a:rPr lang="en-US" sz="2400" b="0" kern="1200">
                          <a:solidFill>
                            <a:schemeClr val="dk1"/>
                          </a:solidFill>
                          <a:effectLst/>
                          <a:latin typeface="Times New Roman" panose="02020603050405020304" pitchFamily="18" charset="0"/>
                          <a:ea typeface="+mn-ea"/>
                          <a:cs typeface="Times New Roman" panose="02020603050405020304" pitchFamily="18" charset="0"/>
                        </a:rPr>
                        <a:t>1/13 chỉ tiêu giao cao hơn UBND tỉnh thông báo (Thu ngân sách), 12/13 chỉ tiêu giao bằng với UBND tỉnh thông báo.</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Giao theo quý các chỉ tiêu Thu chi ngân sách, tổng đàn chăn nuôi (bò, lợn, gia cầm), lâm nghiệp (trồng rừng tập trung, sản lượng gỗ khai thác), các chỉ tiêu còn lại giao theo năm và đã giao chi tiết cho các địa phương.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Giao theo tháng: Chỉ tiêu Thu ngân sách</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3" name="Table 2">
            <a:extLst>
              <a:ext uri="{FF2B5EF4-FFF2-40B4-BE49-F238E27FC236}">
                <a16:creationId xmlns:a16="http://schemas.microsoft.com/office/drawing/2014/main" id="{3AFBC8E4-45A7-6DE9-294A-B5018C870AF5}"/>
              </a:ext>
            </a:extLst>
          </p:cNvPr>
          <p:cNvGraphicFramePr>
            <a:graphicFrameLocks noGrp="1"/>
          </p:cNvGraphicFramePr>
          <p:nvPr>
            <p:extLst>
              <p:ext uri="{D42A27DB-BD31-4B8C-83A1-F6EECF244321}">
                <p14:modId xmlns:p14="http://schemas.microsoft.com/office/powerpoint/2010/main" val="1388685928"/>
              </p:ext>
            </p:extLst>
          </p:nvPr>
        </p:nvGraphicFramePr>
        <p:xfrm>
          <a:off x="271826" y="1047224"/>
          <a:ext cx="6330310" cy="5504587"/>
        </p:xfrm>
        <a:graphic>
          <a:graphicData uri="http://schemas.openxmlformats.org/drawingml/2006/table">
            <a:tbl>
              <a:tblPr>
                <a:tableStyleId>{5C22544A-7EE6-4342-B048-85BDC9FD1C3A}</a:tableStyleId>
              </a:tblPr>
              <a:tblGrid>
                <a:gridCol w="366045">
                  <a:extLst>
                    <a:ext uri="{9D8B030D-6E8A-4147-A177-3AD203B41FA5}">
                      <a16:colId xmlns:a16="http://schemas.microsoft.com/office/drawing/2014/main" val="805737737"/>
                    </a:ext>
                  </a:extLst>
                </a:gridCol>
                <a:gridCol w="2747714">
                  <a:extLst>
                    <a:ext uri="{9D8B030D-6E8A-4147-A177-3AD203B41FA5}">
                      <a16:colId xmlns:a16="http://schemas.microsoft.com/office/drawing/2014/main" val="3317715350"/>
                    </a:ext>
                  </a:extLst>
                </a:gridCol>
                <a:gridCol w="972092">
                  <a:extLst>
                    <a:ext uri="{9D8B030D-6E8A-4147-A177-3AD203B41FA5}">
                      <a16:colId xmlns:a16="http://schemas.microsoft.com/office/drawing/2014/main" val="3635207081"/>
                    </a:ext>
                  </a:extLst>
                </a:gridCol>
                <a:gridCol w="755460">
                  <a:extLst>
                    <a:ext uri="{9D8B030D-6E8A-4147-A177-3AD203B41FA5}">
                      <a16:colId xmlns:a16="http://schemas.microsoft.com/office/drawing/2014/main" val="1410860240"/>
                    </a:ext>
                  </a:extLst>
                </a:gridCol>
                <a:gridCol w="132356">
                  <a:extLst>
                    <a:ext uri="{9D8B030D-6E8A-4147-A177-3AD203B41FA5}">
                      <a16:colId xmlns:a16="http://schemas.microsoft.com/office/drawing/2014/main" val="976796596"/>
                    </a:ext>
                  </a:extLst>
                </a:gridCol>
                <a:gridCol w="645233">
                  <a:extLst>
                    <a:ext uri="{9D8B030D-6E8A-4147-A177-3AD203B41FA5}">
                      <a16:colId xmlns:a16="http://schemas.microsoft.com/office/drawing/2014/main" val="4033207398"/>
                    </a:ext>
                  </a:extLst>
                </a:gridCol>
                <a:gridCol w="711410">
                  <a:extLst>
                    <a:ext uri="{9D8B030D-6E8A-4147-A177-3AD203B41FA5}">
                      <a16:colId xmlns:a16="http://schemas.microsoft.com/office/drawing/2014/main" val="3895766161"/>
                    </a:ext>
                  </a:extLst>
                </a:gridCol>
              </a:tblGrid>
              <a:tr h="385363">
                <a:tc>
                  <a:txBody>
                    <a:bodyPr/>
                    <a:lstStyle/>
                    <a:p>
                      <a:pPr algn="ctr" fontAlgn="ctr"/>
                      <a:r>
                        <a:rPr lang="vi-VN" sz="1000" u="none" strike="noStrike">
                          <a:effectLst/>
                          <a:latin typeface="+mj-lt"/>
                        </a:rPr>
                        <a:t>STT</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Chỉ tiêu</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Đơn vị tính</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vi-VN" sz="1000" u="none" strike="noStrike">
                          <a:effectLst/>
                          <a:latin typeface="+mj-lt"/>
                        </a:rPr>
                        <a:t>Kế hoạch 2023 tỉnh giao</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a:txBody>
                    <a:bodyPr/>
                    <a:lstStyle/>
                    <a:p>
                      <a:pPr algn="ctr" fontAlgn="ctr"/>
                      <a:r>
                        <a:rPr lang="vi-VN" sz="1000" u="none" strike="noStrike">
                          <a:effectLst/>
                          <a:latin typeface="+mj-lt"/>
                        </a:rPr>
                        <a:t>Địa phương giao</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2314830"/>
                  </a:ext>
                </a:extLst>
              </a:tr>
              <a:tr h="213301">
                <a:tc>
                  <a:txBody>
                    <a:bodyPr/>
                    <a:lstStyle/>
                    <a:p>
                      <a:pPr algn="ctr" fontAlgn="ctr"/>
                      <a:r>
                        <a:rPr lang="vi-VN" sz="1000" u="none" strike="noStrike">
                          <a:effectLst/>
                          <a:latin typeface="+mj-lt"/>
                        </a:rPr>
                        <a:t>1</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Tổng giá trị sản phẩm (giá so sánh)</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Triệu đồng</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4.798.304</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4.809.994</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4.809.994</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83684855"/>
                  </a:ext>
                </a:extLst>
              </a:tr>
              <a:tr h="213301">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Nông, lâm, thuỷ sản</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Triệu đồng</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2.431.570</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2.443.260</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2.443.260</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292448"/>
                  </a:ext>
                </a:extLst>
              </a:tr>
              <a:tr h="213301">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Công nghiệp và xây dựng</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Triệu đồng</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931.946</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931.946</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931.946</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0049266"/>
                  </a:ext>
                </a:extLst>
              </a:tr>
              <a:tr h="213301">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 Công nghiệp</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Triệu đồng</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322.809</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322.809</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322.809</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8875968"/>
                  </a:ext>
                </a:extLst>
              </a:tr>
              <a:tr h="213301">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 Xây dựng</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Triệu đồng</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609.137</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609.137</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609.137</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97325927"/>
                  </a:ext>
                </a:extLst>
              </a:tr>
              <a:tr h="213301">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Dịch vụ</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Triệu đồng</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1.434.788</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1.434.788</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1.434.788</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48864723"/>
                  </a:ext>
                </a:extLst>
              </a:tr>
              <a:tr h="213301">
                <a:tc>
                  <a:txBody>
                    <a:bodyPr/>
                    <a:lstStyle/>
                    <a:p>
                      <a:pPr algn="ctr" fontAlgn="ctr"/>
                      <a:r>
                        <a:rPr lang="vi-VN" sz="1000" u="none" strike="noStrike">
                          <a:effectLst/>
                          <a:latin typeface="+mj-lt"/>
                        </a:rPr>
                        <a:t>2</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Tốc độ tăng giá trị sản phẩm</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5,52</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5,78</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5,78</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02342609"/>
                  </a:ext>
                </a:extLst>
              </a:tr>
              <a:tr h="213301">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Nông, lâm, thuỷ sản</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4,00</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4,50</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4,50</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65986401"/>
                  </a:ext>
                </a:extLst>
              </a:tr>
              <a:tr h="213301">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Công nghiệp và xây dựng</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8,14</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8,14</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8,14</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41958931"/>
                  </a:ext>
                </a:extLst>
              </a:tr>
              <a:tr h="213301">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 Công nghiệp</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7,00</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7,00</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7,00</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97544923"/>
                  </a:ext>
                </a:extLst>
              </a:tr>
              <a:tr h="213301">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 Xây dựng</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8,75</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8,75</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8,75</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53701279"/>
                  </a:ext>
                </a:extLst>
              </a:tr>
              <a:tr h="213301">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Dịch vụ</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6,50</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6,50</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6,50</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10920185"/>
                  </a:ext>
                </a:extLst>
              </a:tr>
              <a:tr h="213301">
                <a:tc>
                  <a:txBody>
                    <a:bodyPr/>
                    <a:lstStyle/>
                    <a:p>
                      <a:pPr algn="ctr" fontAlgn="ctr"/>
                      <a:r>
                        <a:rPr lang="vi-VN" sz="1000" u="none" strike="noStrike">
                          <a:solidFill>
                            <a:srgbClr val="FF0000"/>
                          </a:solidFill>
                          <a:effectLst/>
                          <a:latin typeface="+mj-lt"/>
                        </a:rPr>
                        <a:t>3</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solidFill>
                            <a:srgbClr val="FF0000"/>
                          </a:solidFill>
                          <a:effectLst/>
                          <a:latin typeface="+mj-lt"/>
                        </a:rPr>
                        <a:t>Tổng thu ngân sách trên địa bàn</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Triệu đồng</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99.620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134.620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34530254"/>
                  </a:ext>
                </a:extLst>
              </a:tr>
              <a:tr h="213301">
                <a:tc>
                  <a:txBody>
                    <a:bodyPr/>
                    <a:lstStyle/>
                    <a:p>
                      <a:pPr algn="ctr" fontAlgn="ctr"/>
                      <a:r>
                        <a:rPr lang="vi-VN" sz="1000" u="none" strike="noStrike">
                          <a:effectLst/>
                          <a:latin typeface="+mj-lt"/>
                        </a:rPr>
                        <a:t> </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Thu tiền sử dụng đất</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Triệu đồng</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50.000 </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50.000 </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0268817"/>
                  </a:ext>
                </a:extLst>
              </a:tr>
              <a:tr h="213301">
                <a:tc>
                  <a:txBody>
                    <a:bodyPr/>
                    <a:lstStyle/>
                    <a:p>
                      <a:pPr algn="ctr" fontAlgn="ctr"/>
                      <a:r>
                        <a:rPr lang="vi-VN" sz="1000" u="none" strike="noStrike">
                          <a:effectLst/>
                          <a:latin typeface="+mj-lt"/>
                        </a:rPr>
                        <a:t>4</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Doanh thu bán lẻ hàng hóa và dịch vụ</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Tỷ đồng</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3.904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3.904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36190981"/>
                  </a:ext>
                </a:extLst>
              </a:tr>
              <a:tr h="213301">
                <a:tc>
                  <a:txBody>
                    <a:bodyPr/>
                    <a:lstStyle/>
                    <a:p>
                      <a:pPr algn="ctr" fontAlgn="ctr"/>
                      <a:r>
                        <a:rPr lang="vi-VN" sz="1000" u="none" strike="noStrike">
                          <a:effectLst/>
                          <a:latin typeface="+mj-lt"/>
                        </a:rPr>
                        <a:t>5</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Tỷ lệ dân số tham gia bảo hiểm y tế</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93,85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93,85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95477552"/>
                  </a:ext>
                </a:extLst>
              </a:tr>
              <a:tr h="213301">
                <a:tc>
                  <a:txBody>
                    <a:bodyPr/>
                    <a:lstStyle/>
                    <a:p>
                      <a:pPr algn="ctr" fontAlgn="ctr"/>
                      <a:r>
                        <a:rPr lang="vi-VN" sz="1000" u="none" strike="noStrike">
                          <a:effectLst/>
                          <a:latin typeface="+mj-lt"/>
                        </a:rPr>
                        <a:t>6</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Tỷ lệ trẻ em dưới 5 tuổi suy dinh dưỡng thể nhẹ cân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7,34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7,34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7144844"/>
                  </a:ext>
                </a:extLst>
              </a:tr>
              <a:tr h="213301">
                <a:tc>
                  <a:txBody>
                    <a:bodyPr/>
                    <a:lstStyle/>
                    <a:p>
                      <a:pPr algn="ctr" fontAlgn="ctr"/>
                      <a:r>
                        <a:rPr lang="vi-VN" sz="1000" u="none" strike="noStrike">
                          <a:effectLst/>
                          <a:latin typeface="+mj-lt"/>
                        </a:rPr>
                        <a:t>7</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Giảm tỷ lệ nghèo đa chiều</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2,50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2,50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28982799"/>
                  </a:ext>
                </a:extLst>
              </a:tr>
              <a:tr h="213301">
                <a:tc>
                  <a:txBody>
                    <a:bodyPr/>
                    <a:lstStyle/>
                    <a:p>
                      <a:pPr algn="ctr" fontAlgn="ctr"/>
                      <a:r>
                        <a:rPr lang="vi-VN" sz="1000" u="none" strike="noStrike">
                          <a:effectLst/>
                          <a:latin typeface="+mj-lt"/>
                        </a:rPr>
                        <a:t>8</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Bảo hiểm xã hội tự nguyện</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Người</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1.753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1.753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85651065"/>
                  </a:ext>
                </a:extLst>
              </a:tr>
              <a:tr h="213301">
                <a:tc>
                  <a:txBody>
                    <a:bodyPr/>
                    <a:lstStyle/>
                    <a:p>
                      <a:pPr algn="ctr" fontAlgn="ctr"/>
                      <a:r>
                        <a:rPr lang="vi-VN" sz="1000" u="none" strike="noStrike">
                          <a:effectLst/>
                          <a:latin typeface="+mj-lt"/>
                        </a:rPr>
                        <a:t>9</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Tạo việc làm mới</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Người</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2.550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2.550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6389250"/>
                  </a:ext>
                </a:extLst>
              </a:tr>
              <a:tr h="213301">
                <a:tc>
                  <a:txBody>
                    <a:bodyPr/>
                    <a:lstStyle/>
                    <a:p>
                      <a:pPr algn="ctr" fontAlgn="ctr"/>
                      <a:r>
                        <a:rPr lang="vi-VN" sz="1000" u="none" strike="noStrike">
                          <a:effectLst/>
                          <a:latin typeface="+mj-lt"/>
                        </a:rPr>
                        <a:t>10</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Đào tạo nghề lao động nông thôn</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Người</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224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224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5159157"/>
                  </a:ext>
                </a:extLst>
              </a:tr>
              <a:tr h="213301">
                <a:tc>
                  <a:txBody>
                    <a:bodyPr/>
                    <a:lstStyle/>
                    <a:p>
                      <a:pPr algn="ctr" fontAlgn="ctr"/>
                      <a:r>
                        <a:rPr lang="vi-VN" sz="1000" u="none" strike="noStrike">
                          <a:effectLst/>
                          <a:latin typeface="+mj-lt"/>
                        </a:rPr>
                        <a:t>11</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Tỷ lệ che phủ rừng</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67,00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67,00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7692602"/>
                  </a:ext>
                </a:extLst>
              </a:tr>
              <a:tr h="213301">
                <a:tc>
                  <a:txBody>
                    <a:bodyPr/>
                    <a:lstStyle/>
                    <a:p>
                      <a:pPr algn="ctr" fontAlgn="ctr"/>
                      <a:r>
                        <a:rPr lang="vi-VN" sz="1000" u="none" strike="noStrike">
                          <a:effectLst/>
                          <a:latin typeface="+mj-lt"/>
                        </a:rPr>
                        <a:t>12</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Tỷ lệ dân cư đô thị sử dụng nước sạch</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97,80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97,80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552638"/>
                  </a:ext>
                </a:extLst>
              </a:tr>
              <a:tr h="213301">
                <a:tc>
                  <a:txBody>
                    <a:bodyPr/>
                    <a:lstStyle/>
                    <a:p>
                      <a:pPr algn="ctr" fontAlgn="ctr"/>
                      <a:r>
                        <a:rPr lang="vi-VN" sz="1000" u="none" strike="noStrike">
                          <a:effectLst/>
                          <a:latin typeface="+mj-lt"/>
                        </a:rPr>
                        <a:t>13</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Tỷ lệ chất thải rắn ở đô thị được thu gom</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64,00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64,00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49130692"/>
                  </a:ext>
                </a:extLst>
              </a:tr>
            </a:tbl>
          </a:graphicData>
        </a:graphic>
      </p:graphicFrame>
    </p:spTree>
    <p:extLst>
      <p:ext uri="{BB962C8B-B14F-4D97-AF65-F5344CB8AC3E}">
        <p14:creationId xmlns:p14="http://schemas.microsoft.com/office/powerpoint/2010/main" val="14713501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125730" y="380702"/>
            <a:ext cx="11681460"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rPr>
              <a:t>VỀ GIAO CH</a:t>
            </a:r>
            <a:r>
              <a:rPr lang="en-US" sz="2600" b="1">
                <a:solidFill>
                  <a:srgbClr val="040206"/>
                </a:solidFill>
                <a:latin typeface="Times New Roman" panose="02020603050405020304" pitchFamily="18" charset="0"/>
                <a:cs typeface="Times New Roman" panose="02020603050405020304" pitchFamily="18" charset="0"/>
              </a:rPr>
              <a:t>Ỉ TIÊU KẾ HOẠCH NĂM 2023</a:t>
            </a:r>
            <a:endPar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2" name="Table 1">
            <a:extLst>
              <a:ext uri="{FF2B5EF4-FFF2-40B4-BE49-F238E27FC236}">
                <a16:creationId xmlns:a16="http://schemas.microsoft.com/office/drawing/2014/main" id="{FBFFDBCD-49A2-B604-F9E9-B81E95DF4EB5}"/>
              </a:ext>
            </a:extLst>
          </p:cNvPr>
          <p:cNvGraphicFramePr>
            <a:graphicFrameLocks noGrp="1"/>
          </p:cNvGraphicFramePr>
          <p:nvPr>
            <p:extLst>
              <p:ext uri="{D42A27DB-BD31-4B8C-83A1-F6EECF244321}">
                <p14:modId xmlns:p14="http://schemas.microsoft.com/office/powerpoint/2010/main" val="3887904739"/>
              </p:ext>
            </p:extLst>
          </p:nvPr>
        </p:nvGraphicFramePr>
        <p:xfrm>
          <a:off x="7113864" y="1001598"/>
          <a:ext cx="4793994" cy="4450080"/>
        </p:xfrm>
        <a:graphic>
          <a:graphicData uri="http://schemas.openxmlformats.org/drawingml/2006/table">
            <a:tbl>
              <a:tblPr firstRow="1" bandRow="1"/>
              <a:tblGrid>
                <a:gridCol w="4793994">
                  <a:extLst>
                    <a:ext uri="{9D8B030D-6E8A-4147-A177-3AD203B41FA5}">
                      <a16:colId xmlns:a16="http://schemas.microsoft.com/office/drawing/2014/main" val="3655493598"/>
                    </a:ext>
                  </a:extLst>
                </a:gridCol>
              </a:tblGrid>
              <a:tr h="292239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6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1" kern="1200">
                          <a:solidFill>
                            <a:schemeClr val="dk1"/>
                          </a:solidFill>
                          <a:effectLst/>
                          <a:latin typeface="Times New Roman" panose="02020603050405020304" pitchFamily="18" charset="0"/>
                          <a:ea typeface="+mn-ea"/>
                          <a:cs typeface="Times New Roman" panose="02020603050405020304" pitchFamily="18" charset="0"/>
                        </a:rPr>
                        <a:t>An Lão: </a:t>
                      </a:r>
                      <a:r>
                        <a:rPr lang="en-US" sz="2400" b="0" kern="1200">
                          <a:solidFill>
                            <a:schemeClr val="dk1"/>
                          </a:solidFill>
                          <a:effectLst/>
                          <a:latin typeface="Times New Roman" panose="02020603050405020304" pitchFamily="18" charset="0"/>
                          <a:ea typeface="+mn-ea"/>
                          <a:cs typeface="Times New Roman" panose="02020603050405020304" pitchFamily="18" charset="0"/>
                        </a:rPr>
                        <a:t>4/14 chỉ tiêu giao cao hơn UBND tỉnh thông báo, 10/14 chỉ tiêu còn lại giao bằng UBND tỉn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Giao theo quý chỉ 02 chỉ tiêu (Tổng giá trị sp, doanh thu bán lẻ hàng hóa và dịch vụ), các chỉ tiêu còn lại giao theo năm và đã giao chi tiết cho các địa phương. Không có chỉ tiêu nào giao theo tháng</a:t>
                      </a: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3" name="Table 2">
            <a:extLst>
              <a:ext uri="{FF2B5EF4-FFF2-40B4-BE49-F238E27FC236}">
                <a16:creationId xmlns:a16="http://schemas.microsoft.com/office/drawing/2014/main" id="{C8CB4003-4A3D-6F30-7047-EE5887697347}"/>
              </a:ext>
            </a:extLst>
          </p:cNvPr>
          <p:cNvGraphicFramePr>
            <a:graphicFrameLocks noGrp="1"/>
          </p:cNvGraphicFramePr>
          <p:nvPr>
            <p:extLst>
              <p:ext uri="{D42A27DB-BD31-4B8C-83A1-F6EECF244321}">
                <p14:modId xmlns:p14="http://schemas.microsoft.com/office/powerpoint/2010/main" val="3823402165"/>
              </p:ext>
            </p:extLst>
          </p:nvPr>
        </p:nvGraphicFramePr>
        <p:xfrm>
          <a:off x="384810" y="1001598"/>
          <a:ext cx="6628385" cy="5475691"/>
        </p:xfrm>
        <a:graphic>
          <a:graphicData uri="http://schemas.openxmlformats.org/drawingml/2006/table">
            <a:tbl>
              <a:tblPr>
                <a:tableStyleId>{5C22544A-7EE6-4342-B048-85BDC9FD1C3A}</a:tableStyleId>
              </a:tblPr>
              <a:tblGrid>
                <a:gridCol w="395557">
                  <a:extLst>
                    <a:ext uri="{9D8B030D-6E8A-4147-A177-3AD203B41FA5}">
                      <a16:colId xmlns:a16="http://schemas.microsoft.com/office/drawing/2014/main" val="1397958532"/>
                    </a:ext>
                  </a:extLst>
                </a:gridCol>
                <a:gridCol w="3271733">
                  <a:extLst>
                    <a:ext uri="{9D8B030D-6E8A-4147-A177-3AD203B41FA5}">
                      <a16:colId xmlns:a16="http://schemas.microsoft.com/office/drawing/2014/main" val="2162199075"/>
                    </a:ext>
                  </a:extLst>
                </a:gridCol>
                <a:gridCol w="795585">
                  <a:extLst>
                    <a:ext uri="{9D8B030D-6E8A-4147-A177-3AD203B41FA5}">
                      <a16:colId xmlns:a16="http://schemas.microsoft.com/office/drawing/2014/main" val="4193065974"/>
                    </a:ext>
                  </a:extLst>
                </a:gridCol>
                <a:gridCol w="598923">
                  <a:extLst>
                    <a:ext uri="{9D8B030D-6E8A-4147-A177-3AD203B41FA5}">
                      <a16:colId xmlns:a16="http://schemas.microsoft.com/office/drawing/2014/main" val="254512863"/>
                    </a:ext>
                  </a:extLst>
                </a:gridCol>
                <a:gridCol w="143026">
                  <a:extLst>
                    <a:ext uri="{9D8B030D-6E8A-4147-A177-3AD203B41FA5}">
                      <a16:colId xmlns:a16="http://schemas.microsoft.com/office/drawing/2014/main" val="1517064711"/>
                    </a:ext>
                  </a:extLst>
                </a:gridCol>
                <a:gridCol w="598923">
                  <a:extLst>
                    <a:ext uri="{9D8B030D-6E8A-4147-A177-3AD203B41FA5}">
                      <a16:colId xmlns:a16="http://schemas.microsoft.com/office/drawing/2014/main" val="452622731"/>
                    </a:ext>
                  </a:extLst>
                </a:gridCol>
                <a:gridCol w="824638">
                  <a:extLst>
                    <a:ext uri="{9D8B030D-6E8A-4147-A177-3AD203B41FA5}">
                      <a16:colId xmlns:a16="http://schemas.microsoft.com/office/drawing/2014/main" val="1187490970"/>
                    </a:ext>
                  </a:extLst>
                </a:gridCol>
              </a:tblGrid>
              <a:tr h="382235">
                <a:tc>
                  <a:txBody>
                    <a:bodyPr/>
                    <a:lstStyle/>
                    <a:p>
                      <a:pPr algn="ctr" fontAlgn="ctr"/>
                      <a:r>
                        <a:rPr lang="vi-VN" sz="1050" u="none" strike="noStrike">
                          <a:effectLst/>
                          <a:latin typeface="+mj-lt"/>
                        </a:rPr>
                        <a:t>ST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Chỉ tiêu</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Đơn vị tính</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vi-VN" sz="1050" u="none" strike="noStrike">
                          <a:effectLst/>
                          <a:latin typeface="+mj-lt"/>
                        </a:rPr>
                        <a:t>Kế hoạch 2023 tỉnh giao</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a:txBody>
                    <a:bodyPr/>
                    <a:lstStyle/>
                    <a:p>
                      <a:pPr algn="ctr" fontAlgn="ctr"/>
                      <a:r>
                        <a:rPr lang="vi-VN" sz="1050" u="none" strike="noStrike">
                          <a:effectLst/>
                          <a:latin typeface="+mj-lt"/>
                        </a:rPr>
                        <a:t>Địa phương giao</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27096796"/>
                  </a:ext>
                </a:extLst>
              </a:tr>
              <a:tr h="202765">
                <a:tc>
                  <a:txBody>
                    <a:bodyPr/>
                    <a:lstStyle/>
                    <a:p>
                      <a:pPr algn="ctr" fontAlgn="ctr"/>
                      <a:r>
                        <a:rPr lang="vi-VN" sz="1050" u="none" strike="noStrike">
                          <a:solidFill>
                            <a:srgbClr val="FF0000"/>
                          </a:solidFill>
                          <a:effectLst/>
                          <a:latin typeface="+mj-lt"/>
                        </a:rPr>
                        <a:t>1</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solidFill>
                            <a:srgbClr val="FF0000"/>
                          </a:solidFill>
                          <a:effectLst/>
                          <a:latin typeface="+mj-lt"/>
                        </a:rPr>
                        <a:t>Tổng giá trị sản phẩm (giá so sánh)</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Triệu đồng</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solidFill>
                            <a:srgbClr val="FF0000"/>
                          </a:solidFill>
                          <a:effectLst/>
                          <a:latin typeface="+mj-lt"/>
                        </a:rPr>
                        <a:t>841.403</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solidFill>
                            <a:srgbClr val="FF0000"/>
                          </a:solidFill>
                          <a:effectLst/>
                          <a:latin typeface="+mj-lt"/>
                        </a:rPr>
                        <a:t>843.080</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solidFill>
                            <a:srgbClr val="FF0000"/>
                          </a:solidFill>
                          <a:effectLst/>
                          <a:latin typeface="+mj-lt"/>
                        </a:rPr>
                        <a:t>848.678</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2055798"/>
                  </a:ext>
                </a:extLst>
              </a:tr>
              <a:tr h="202765">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Nông, lâm, thuỷ sản</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337.997</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339.63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340.57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63079925"/>
                  </a:ext>
                </a:extLst>
              </a:tr>
              <a:tr h="202765">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Công nghiệp và xây dự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73.066</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73.11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75.565</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96210420"/>
                  </a:ext>
                </a:extLst>
              </a:tr>
              <a:tr h="202765">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 Công nghiệp</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22.501</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22.545</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23.324</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9951850"/>
                  </a:ext>
                </a:extLst>
              </a:tr>
              <a:tr h="202765">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 Xây dự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50.565</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50.565</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52.332</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26834337"/>
                  </a:ext>
                </a:extLst>
              </a:tr>
              <a:tr h="202765">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Dịch vụ</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30.34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30.34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32.452</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85317760"/>
                  </a:ext>
                </a:extLst>
              </a:tr>
              <a:tr h="202765">
                <a:tc>
                  <a:txBody>
                    <a:bodyPr/>
                    <a:lstStyle/>
                    <a:p>
                      <a:pPr algn="ctr" fontAlgn="ctr"/>
                      <a:r>
                        <a:rPr lang="vi-VN" sz="1050" u="none" strike="noStrike">
                          <a:solidFill>
                            <a:srgbClr val="FF0000"/>
                          </a:solidFill>
                          <a:effectLst/>
                          <a:latin typeface="+mj-lt"/>
                        </a:rPr>
                        <a:t>2</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solidFill>
                            <a:srgbClr val="FF0000"/>
                          </a:solidFill>
                          <a:effectLst/>
                          <a:latin typeface="+mj-lt"/>
                        </a:rPr>
                        <a:t>Tốc độ tăng giá trị sản phẩm</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6,32</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solidFill>
                            <a:srgbClr val="FF0000"/>
                          </a:solidFill>
                          <a:effectLst/>
                          <a:latin typeface="+mj-lt"/>
                        </a:rPr>
                        <a:t>6,53</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solidFill>
                            <a:srgbClr val="FF0000"/>
                          </a:solidFill>
                          <a:effectLst/>
                          <a:latin typeface="+mj-lt"/>
                        </a:rPr>
                        <a:t>7,24</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52055129"/>
                  </a:ext>
                </a:extLst>
              </a:tr>
              <a:tr h="202765">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Nông, lâm, thuỷ sản</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3,5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4,0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4,29</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50175430"/>
                  </a:ext>
                </a:extLst>
              </a:tr>
              <a:tr h="202765">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Công nghiệp và xây dự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9,42</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9,43</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0,45</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26364232"/>
                  </a:ext>
                </a:extLst>
              </a:tr>
              <a:tr h="202765">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 Công nghiệp</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14,36</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4,4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5,13</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17384107"/>
                  </a:ext>
                </a:extLst>
              </a:tr>
              <a:tr h="202765">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 Xây dự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5,7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5,7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6,94</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4166312"/>
                  </a:ext>
                </a:extLst>
              </a:tr>
              <a:tr h="202765">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Dịch vụ</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7,0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7,0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7,98</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69839354"/>
                  </a:ext>
                </a:extLst>
              </a:tr>
              <a:tr h="227096">
                <a:tc>
                  <a:txBody>
                    <a:bodyPr/>
                    <a:lstStyle/>
                    <a:p>
                      <a:pPr algn="ctr" fontAlgn="ctr"/>
                      <a:r>
                        <a:rPr lang="vi-VN" sz="1050" u="none" strike="noStrike">
                          <a:effectLst/>
                          <a:latin typeface="+mj-lt"/>
                        </a:rPr>
                        <a:t>3</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Kim ngạch xuất khẩu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USD</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98442535"/>
                  </a:ext>
                </a:extLst>
              </a:tr>
              <a:tr h="202765">
                <a:tc>
                  <a:txBody>
                    <a:bodyPr/>
                    <a:lstStyle/>
                    <a:p>
                      <a:pPr algn="ctr" fontAlgn="ctr"/>
                      <a:r>
                        <a:rPr lang="vi-VN" sz="1050" u="none" strike="noStrike">
                          <a:solidFill>
                            <a:srgbClr val="FF0000"/>
                          </a:solidFill>
                          <a:effectLst/>
                          <a:latin typeface="+mj-lt"/>
                        </a:rPr>
                        <a:t>4</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solidFill>
                            <a:srgbClr val="FF0000"/>
                          </a:solidFill>
                          <a:effectLst/>
                          <a:latin typeface="+mj-lt"/>
                        </a:rPr>
                        <a:t>Tổng thu ngân sách trên địa bàn</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Triệu đồng</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41.825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98.614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52799195"/>
                  </a:ext>
                </a:extLst>
              </a:tr>
              <a:tr h="202765">
                <a:tc>
                  <a:txBody>
                    <a:bodyPr/>
                    <a:lstStyle/>
                    <a:p>
                      <a:pPr algn="ctr" fontAlgn="ctr"/>
                      <a:r>
                        <a:rPr lang="vi-VN" sz="1050" u="none" strike="noStrike">
                          <a:effectLst/>
                          <a:latin typeface="+mj-lt"/>
                        </a:rPr>
                        <a:t> </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Thu tiền sử dụng đấ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10.000 </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10.000 </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65452071"/>
                  </a:ext>
                </a:extLst>
              </a:tr>
              <a:tr h="202765">
                <a:tc>
                  <a:txBody>
                    <a:bodyPr/>
                    <a:lstStyle/>
                    <a:p>
                      <a:pPr algn="ctr" fontAlgn="ctr"/>
                      <a:r>
                        <a:rPr lang="vi-VN" sz="1050" u="none" strike="noStrike">
                          <a:effectLst/>
                          <a:latin typeface="+mj-lt"/>
                        </a:rPr>
                        <a:t>5</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Doanh thu bán lẻ hàng hóa và dịch vụ</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ỷ đồ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693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693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64950963"/>
                  </a:ext>
                </a:extLst>
              </a:tr>
              <a:tr h="202765">
                <a:tc>
                  <a:txBody>
                    <a:bodyPr/>
                    <a:lstStyle/>
                    <a:p>
                      <a:pPr algn="ctr" fontAlgn="ctr"/>
                      <a:r>
                        <a:rPr lang="vi-VN" sz="1050" u="none" strike="noStrike">
                          <a:solidFill>
                            <a:srgbClr val="FF0000"/>
                          </a:solidFill>
                          <a:effectLst/>
                          <a:latin typeface="+mj-lt"/>
                        </a:rPr>
                        <a:t>6</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solidFill>
                            <a:srgbClr val="FF0000"/>
                          </a:solidFill>
                          <a:effectLst/>
                          <a:latin typeface="+mj-lt"/>
                        </a:rPr>
                        <a:t>Tỷ lệ dân số tham gia bảo hiểm y tế</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99,75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100,00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16715990"/>
                  </a:ext>
                </a:extLst>
              </a:tr>
              <a:tr h="202765">
                <a:tc>
                  <a:txBody>
                    <a:bodyPr/>
                    <a:lstStyle/>
                    <a:p>
                      <a:pPr algn="ctr" fontAlgn="ctr"/>
                      <a:r>
                        <a:rPr lang="vi-VN" sz="1050" u="none" strike="noStrike">
                          <a:effectLst/>
                          <a:latin typeface="+mj-lt"/>
                        </a:rPr>
                        <a:t>7</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ỷ lệ trẻ em dưới 5 tuổi suy dinh dưỡng thể nhẹ cân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10,39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10,39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65880697"/>
                  </a:ext>
                </a:extLst>
              </a:tr>
              <a:tr h="202765">
                <a:tc>
                  <a:txBody>
                    <a:bodyPr/>
                    <a:lstStyle/>
                    <a:p>
                      <a:pPr algn="ctr" fontAlgn="ctr"/>
                      <a:r>
                        <a:rPr lang="vi-VN" sz="1050" u="none" strike="noStrike">
                          <a:effectLst/>
                          <a:latin typeface="+mj-lt"/>
                        </a:rPr>
                        <a:t>8</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Giảm tỷ lệ nghèo đa chiều</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9,9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9,9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53758033"/>
                  </a:ext>
                </a:extLst>
              </a:tr>
              <a:tr h="202765">
                <a:tc>
                  <a:txBody>
                    <a:bodyPr/>
                    <a:lstStyle/>
                    <a:p>
                      <a:pPr algn="ctr" fontAlgn="ctr"/>
                      <a:r>
                        <a:rPr lang="vi-VN" sz="1050" u="none" strike="noStrike">
                          <a:effectLst/>
                          <a:latin typeface="+mj-lt"/>
                        </a:rPr>
                        <a:t>9</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Bảo hiểm xã hội tự nguyện</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Người</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1.673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1.673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23774"/>
                  </a:ext>
                </a:extLst>
              </a:tr>
              <a:tr h="202765">
                <a:tc>
                  <a:txBody>
                    <a:bodyPr/>
                    <a:lstStyle/>
                    <a:p>
                      <a:pPr algn="ctr" fontAlgn="ctr"/>
                      <a:r>
                        <a:rPr lang="vi-VN" sz="1050" u="none" strike="noStrike">
                          <a:effectLst/>
                          <a:latin typeface="+mj-lt"/>
                        </a:rPr>
                        <a:t>10</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ạo việc làm mới</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Người</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30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30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69529199"/>
                  </a:ext>
                </a:extLst>
              </a:tr>
              <a:tr h="202765">
                <a:tc>
                  <a:txBody>
                    <a:bodyPr/>
                    <a:lstStyle/>
                    <a:p>
                      <a:pPr algn="ctr" fontAlgn="ctr"/>
                      <a:r>
                        <a:rPr lang="vi-VN" sz="1050" u="none" strike="noStrike">
                          <a:effectLst/>
                          <a:latin typeface="+mj-lt"/>
                        </a:rPr>
                        <a:t>11</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Đào tạo nghề lao động nông thôn</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Người</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30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30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6941065"/>
                  </a:ext>
                </a:extLst>
              </a:tr>
              <a:tr h="202765">
                <a:tc>
                  <a:txBody>
                    <a:bodyPr/>
                    <a:lstStyle/>
                    <a:p>
                      <a:pPr algn="ctr" fontAlgn="ctr"/>
                      <a:r>
                        <a:rPr lang="vi-VN" sz="1050" u="none" strike="noStrike">
                          <a:effectLst/>
                          <a:latin typeface="+mj-lt"/>
                        </a:rPr>
                        <a:t>12</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ỷ lệ che phủ rừng</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83,1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83,1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40473690"/>
                  </a:ext>
                </a:extLst>
              </a:tr>
              <a:tr h="202765">
                <a:tc>
                  <a:txBody>
                    <a:bodyPr/>
                    <a:lstStyle/>
                    <a:p>
                      <a:pPr algn="ctr" fontAlgn="ctr"/>
                      <a:r>
                        <a:rPr lang="vi-VN" sz="1050" u="none" strike="noStrike">
                          <a:effectLst/>
                          <a:latin typeface="+mj-lt"/>
                        </a:rPr>
                        <a:t>13</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ỷ lệ dân cư đô thị sử dụng nước sạch</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53,58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53,58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29762200"/>
                  </a:ext>
                </a:extLst>
              </a:tr>
              <a:tr h="202765">
                <a:tc>
                  <a:txBody>
                    <a:bodyPr/>
                    <a:lstStyle/>
                    <a:p>
                      <a:pPr algn="ctr" fontAlgn="ctr"/>
                      <a:r>
                        <a:rPr lang="vi-VN" sz="1050" u="none" strike="noStrike">
                          <a:effectLst/>
                          <a:latin typeface="+mj-lt"/>
                        </a:rPr>
                        <a:t>14</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ỷ lệ chất thải rắn ở đô thị được thu gom</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49,0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49,0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38939231"/>
                  </a:ext>
                </a:extLst>
              </a:tr>
            </a:tbl>
          </a:graphicData>
        </a:graphic>
      </p:graphicFrame>
    </p:spTree>
    <p:extLst>
      <p:ext uri="{BB962C8B-B14F-4D97-AF65-F5344CB8AC3E}">
        <p14:creationId xmlns:p14="http://schemas.microsoft.com/office/powerpoint/2010/main" val="238264044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125730" y="380702"/>
            <a:ext cx="11681460"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rPr>
              <a:t>VỀ GIAO CH</a:t>
            </a:r>
            <a:r>
              <a:rPr lang="en-US" sz="2600" b="1">
                <a:solidFill>
                  <a:srgbClr val="040206"/>
                </a:solidFill>
                <a:latin typeface="Times New Roman" panose="02020603050405020304" pitchFamily="18" charset="0"/>
                <a:cs typeface="Times New Roman" panose="02020603050405020304" pitchFamily="18" charset="0"/>
              </a:rPr>
              <a:t>Ỉ TIÊU KẾ HOẠCH NĂM 2023</a:t>
            </a:r>
            <a:endPar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2" name="Table 1">
            <a:extLst>
              <a:ext uri="{FF2B5EF4-FFF2-40B4-BE49-F238E27FC236}">
                <a16:creationId xmlns:a16="http://schemas.microsoft.com/office/drawing/2014/main" id="{FBFFDBCD-49A2-B604-F9E9-B81E95DF4EB5}"/>
              </a:ext>
            </a:extLst>
          </p:cNvPr>
          <p:cNvGraphicFramePr>
            <a:graphicFrameLocks noGrp="1"/>
          </p:cNvGraphicFramePr>
          <p:nvPr>
            <p:extLst>
              <p:ext uri="{D42A27DB-BD31-4B8C-83A1-F6EECF244321}">
                <p14:modId xmlns:p14="http://schemas.microsoft.com/office/powerpoint/2010/main" val="4113253780"/>
              </p:ext>
            </p:extLst>
          </p:nvPr>
        </p:nvGraphicFramePr>
        <p:xfrm>
          <a:off x="7189364" y="1001599"/>
          <a:ext cx="4617825" cy="5120640"/>
        </p:xfrm>
        <a:graphic>
          <a:graphicData uri="http://schemas.openxmlformats.org/drawingml/2006/table">
            <a:tbl>
              <a:tblPr firstRow="1" bandRow="1"/>
              <a:tblGrid>
                <a:gridCol w="4617825">
                  <a:extLst>
                    <a:ext uri="{9D8B030D-6E8A-4147-A177-3AD203B41FA5}">
                      <a16:colId xmlns:a16="http://schemas.microsoft.com/office/drawing/2014/main" val="3655493598"/>
                    </a:ext>
                  </a:extLst>
                </a:gridCol>
              </a:tblGrid>
              <a:tr h="292239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1" kern="1200">
                          <a:solidFill>
                            <a:schemeClr val="dk1"/>
                          </a:solidFill>
                          <a:effectLst/>
                          <a:latin typeface="Times New Roman" panose="02020603050405020304" pitchFamily="18" charset="0"/>
                          <a:ea typeface="+mn-ea"/>
                          <a:cs typeface="Times New Roman" panose="02020603050405020304" pitchFamily="18" charset="0"/>
                        </a:rPr>
                        <a:t>Vân Canh: </a:t>
                      </a:r>
                      <a:r>
                        <a:rPr lang="en-US" sz="2000" b="0" kern="1200">
                          <a:solidFill>
                            <a:schemeClr val="dk1"/>
                          </a:solidFill>
                          <a:effectLst/>
                          <a:latin typeface="Times New Roman" panose="02020603050405020304" pitchFamily="18" charset="0"/>
                          <a:ea typeface="+mn-ea"/>
                          <a:cs typeface="Times New Roman" panose="02020603050405020304" pitchFamily="18" charset="0"/>
                        </a:rPr>
                        <a:t>2/14 chỉ tiêu giao cao hơn UBND tỉnh thông báo, 2/14 chỉ tiêu UBND tỉnh thông báo nhưng huyện không giao (đào tạo nghề cho lao động nông thôn- tỉnh giao số người huyện thay thế bằng tỷ lệ, riêng chỉ tiêu tốc độ tăng giá trị sản phẩm huyện ko giao thay thế bằng tổng giá trị sản phẩm theo giá hiện hành), 10/14 chỉ tiêu giao bằng với chỉ tiêu của UBND tỉnh thông báo.</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Huyện giao chỉ tiêu năm cho các phòng phụ trách, giao chi tiết một số chỉ tiêu xã hội (Thu ngân sách+BHXH+BHYT+tỷ lệ hộ nghèo+thu gom rác thải+ tạo việc làm) cho các địa phương, không giao chi tiết theo từng quý, tháng</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3" name="Table 2">
            <a:extLst>
              <a:ext uri="{FF2B5EF4-FFF2-40B4-BE49-F238E27FC236}">
                <a16:creationId xmlns:a16="http://schemas.microsoft.com/office/drawing/2014/main" id="{88BF0CC1-E314-5CE1-FFDA-46134B913C04}"/>
              </a:ext>
            </a:extLst>
          </p:cNvPr>
          <p:cNvGraphicFramePr>
            <a:graphicFrameLocks noGrp="1"/>
          </p:cNvGraphicFramePr>
          <p:nvPr>
            <p:extLst>
              <p:ext uri="{D42A27DB-BD31-4B8C-83A1-F6EECF244321}">
                <p14:modId xmlns:p14="http://schemas.microsoft.com/office/powerpoint/2010/main" val="1708927121"/>
              </p:ext>
            </p:extLst>
          </p:nvPr>
        </p:nvGraphicFramePr>
        <p:xfrm>
          <a:off x="429554" y="1102686"/>
          <a:ext cx="6650752" cy="5374612"/>
        </p:xfrm>
        <a:graphic>
          <a:graphicData uri="http://schemas.openxmlformats.org/drawingml/2006/table">
            <a:tbl>
              <a:tblPr>
                <a:tableStyleId>{5C22544A-7EE6-4342-B048-85BDC9FD1C3A}</a:tableStyleId>
              </a:tblPr>
              <a:tblGrid>
                <a:gridCol w="397160">
                  <a:extLst>
                    <a:ext uri="{9D8B030D-6E8A-4147-A177-3AD203B41FA5}">
                      <a16:colId xmlns:a16="http://schemas.microsoft.com/office/drawing/2014/main" val="9350908"/>
                    </a:ext>
                  </a:extLst>
                </a:gridCol>
                <a:gridCol w="3278256">
                  <a:extLst>
                    <a:ext uri="{9D8B030D-6E8A-4147-A177-3AD203B41FA5}">
                      <a16:colId xmlns:a16="http://schemas.microsoft.com/office/drawing/2014/main" val="660021351"/>
                    </a:ext>
                  </a:extLst>
                </a:gridCol>
                <a:gridCol w="798809">
                  <a:extLst>
                    <a:ext uri="{9D8B030D-6E8A-4147-A177-3AD203B41FA5}">
                      <a16:colId xmlns:a16="http://schemas.microsoft.com/office/drawing/2014/main" val="1209130157"/>
                    </a:ext>
                  </a:extLst>
                </a:gridCol>
                <a:gridCol w="639495">
                  <a:extLst>
                    <a:ext uri="{9D8B030D-6E8A-4147-A177-3AD203B41FA5}">
                      <a16:colId xmlns:a16="http://schemas.microsoft.com/office/drawing/2014/main" val="2694346429"/>
                    </a:ext>
                  </a:extLst>
                </a:gridCol>
                <a:gridCol w="143606">
                  <a:extLst>
                    <a:ext uri="{9D8B030D-6E8A-4147-A177-3AD203B41FA5}">
                      <a16:colId xmlns:a16="http://schemas.microsoft.com/office/drawing/2014/main" val="796588556"/>
                    </a:ext>
                  </a:extLst>
                </a:gridCol>
                <a:gridCol w="639495">
                  <a:extLst>
                    <a:ext uri="{9D8B030D-6E8A-4147-A177-3AD203B41FA5}">
                      <a16:colId xmlns:a16="http://schemas.microsoft.com/office/drawing/2014/main" val="2633185502"/>
                    </a:ext>
                  </a:extLst>
                </a:gridCol>
                <a:gridCol w="753931">
                  <a:extLst>
                    <a:ext uri="{9D8B030D-6E8A-4147-A177-3AD203B41FA5}">
                      <a16:colId xmlns:a16="http://schemas.microsoft.com/office/drawing/2014/main" val="2123248243"/>
                    </a:ext>
                  </a:extLst>
                </a:gridCol>
              </a:tblGrid>
              <a:tr h="369641">
                <a:tc>
                  <a:txBody>
                    <a:bodyPr/>
                    <a:lstStyle/>
                    <a:p>
                      <a:pPr algn="ctr" fontAlgn="ctr"/>
                      <a:r>
                        <a:rPr lang="vi-VN" sz="1100" u="none" strike="noStrike">
                          <a:effectLst/>
                          <a:latin typeface="+mj-lt"/>
                        </a:rPr>
                        <a:t>ST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Chỉ tiêu</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Đơn vị tính</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fontAlgn="ctr"/>
                      <a:r>
                        <a:rPr lang="vi-VN" sz="1100" u="none" strike="noStrike">
                          <a:effectLst/>
                          <a:latin typeface="+mj-lt"/>
                        </a:rPr>
                        <a:t>Kế hoạch 2023 tỉnh giao</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vi-VN"/>
                    </a:p>
                  </a:txBody>
                  <a:tcPr/>
                </a:tc>
                <a:tc hMerge="1">
                  <a:txBody>
                    <a:bodyPr/>
                    <a:lstStyle/>
                    <a:p>
                      <a:endParaRPr lang="vi-VN"/>
                    </a:p>
                  </a:txBody>
                  <a:tcPr/>
                </a:tc>
                <a:tc>
                  <a:txBody>
                    <a:bodyPr/>
                    <a:lstStyle/>
                    <a:p>
                      <a:pPr algn="ctr" fontAlgn="ctr"/>
                      <a:r>
                        <a:rPr lang="vi-VN" sz="1100" u="none" strike="noStrike">
                          <a:effectLst/>
                          <a:latin typeface="+mj-lt"/>
                        </a:rPr>
                        <a:t>Địa phương giao</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8329944"/>
                  </a:ext>
                </a:extLst>
              </a:tr>
              <a:tr h="184820">
                <a:tc>
                  <a:txBody>
                    <a:bodyPr/>
                    <a:lstStyle/>
                    <a:p>
                      <a:pPr algn="ctr" fontAlgn="ctr"/>
                      <a:r>
                        <a:rPr lang="vi-VN" sz="1100" u="none" strike="noStrike">
                          <a:effectLst/>
                          <a:latin typeface="+mj-lt"/>
                        </a:rPr>
                        <a:t>1</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Tổng giá trị sản phẩm (giá so sánh)</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Triệu đồng</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3.340.385</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3.348.899</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3.348.899</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6524006"/>
                  </a:ext>
                </a:extLst>
              </a:tr>
              <a:tr h="184820">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 Nông, lâm, thuỷ sản</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Triệu đồ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720.987</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724.487</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724.487</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0934154"/>
                  </a:ext>
                </a:extLst>
              </a:tr>
              <a:tr h="184820">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 Công nghiệp và xây dự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Triệu đồ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2.166.93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2.169.769</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2.169.769</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7484618"/>
                  </a:ext>
                </a:extLst>
              </a:tr>
              <a:tr h="184820">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     + Công nghiệp</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Triệu đồ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1.859.678</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1.862.372</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1.862.372</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8751735"/>
                  </a:ext>
                </a:extLst>
              </a:tr>
              <a:tr h="184820">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     + Xây dự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Triệu đồ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307.252</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307.397</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307.397</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9736439"/>
                  </a:ext>
                </a:extLst>
              </a:tr>
              <a:tr h="184820">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 Dịch vụ</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Triệu đồ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452.468</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454.643</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454.643</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3025669"/>
                  </a:ext>
                </a:extLst>
              </a:tr>
              <a:tr h="184820">
                <a:tc>
                  <a:txBody>
                    <a:bodyPr/>
                    <a:lstStyle/>
                    <a:p>
                      <a:pPr algn="ctr" fontAlgn="ctr"/>
                      <a:r>
                        <a:rPr lang="vi-VN" sz="1100" u="none" strike="noStrike">
                          <a:effectLst/>
                          <a:latin typeface="+mj-lt"/>
                        </a:rPr>
                        <a:t>2</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Tốc độ tăng giá trị sản phẩm</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10,92</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11,21</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6737571"/>
                  </a:ext>
                </a:extLst>
              </a:tr>
              <a:tr h="184820">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 Nông, lâm, thuỷ sản</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3,0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3,5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6557899"/>
                  </a:ext>
                </a:extLst>
              </a:tr>
              <a:tr h="184820">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 Công nghiệp và xây dự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15,49</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15,64</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5169056"/>
                  </a:ext>
                </a:extLst>
              </a:tr>
              <a:tr h="184820">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     + Công nghiệp</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17,33</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17,50</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396812"/>
                  </a:ext>
                </a:extLst>
              </a:tr>
              <a:tr h="184820">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     + Xây dự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5,45</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5,50</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0358330"/>
                  </a:ext>
                </a:extLst>
              </a:tr>
              <a:tr h="184820">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 Dịch vụ</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4,0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vi-VN" sz="1100" u="none" strike="noStrike">
                          <a:effectLst/>
                          <a:latin typeface="+mj-lt"/>
                        </a:rPr>
                        <a:t>4,5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9054468"/>
                  </a:ext>
                </a:extLst>
              </a:tr>
              <a:tr h="199649">
                <a:tc>
                  <a:txBody>
                    <a:bodyPr/>
                    <a:lstStyle/>
                    <a:p>
                      <a:pPr algn="ctr" fontAlgn="ctr"/>
                      <a:r>
                        <a:rPr lang="vi-VN" sz="1100" u="none" strike="noStrike">
                          <a:solidFill>
                            <a:srgbClr val="FF0000"/>
                          </a:solidFill>
                          <a:effectLst/>
                          <a:latin typeface="+mj-lt"/>
                        </a:rPr>
                        <a:t>3</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solidFill>
                            <a:srgbClr val="FF0000"/>
                          </a:solidFill>
                          <a:effectLst/>
                          <a:latin typeface="+mj-lt"/>
                        </a:rPr>
                        <a:t>Kim ngạch xuất khẩu </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solidFill>
                            <a:srgbClr val="FF0000"/>
                          </a:solidFill>
                          <a:effectLst/>
                          <a:latin typeface="+mj-lt"/>
                        </a:rPr>
                        <a:t>Triệu USD</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solidFill>
                            <a:srgbClr val="FF0000"/>
                          </a:solidFill>
                          <a:effectLst/>
                          <a:latin typeface="+mj-lt"/>
                        </a:rPr>
                        <a:t>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solidFill>
                            <a:srgbClr val="FF0000"/>
                          </a:solidFill>
                          <a:effectLst/>
                          <a:latin typeface="+mj-lt"/>
                        </a:rPr>
                        <a:t> </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solidFill>
                            <a:srgbClr val="FF0000"/>
                          </a:solidFill>
                          <a:effectLst/>
                          <a:latin typeface="+mj-lt"/>
                        </a:rPr>
                        <a:t>             26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solidFill>
                            <a:srgbClr val="FF0000"/>
                          </a:solidFill>
                          <a:effectLst/>
                          <a:latin typeface="+mj-lt"/>
                        </a:rPr>
                        <a:t>                34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4509938"/>
                  </a:ext>
                </a:extLst>
              </a:tr>
              <a:tr h="369641">
                <a:tc>
                  <a:txBody>
                    <a:bodyPr/>
                    <a:lstStyle/>
                    <a:p>
                      <a:pPr algn="ctr" fontAlgn="ctr"/>
                      <a:r>
                        <a:rPr lang="vi-VN" sz="1100" u="none" strike="noStrike">
                          <a:effectLst/>
                          <a:latin typeface="+mj-lt"/>
                        </a:rPr>
                        <a:t>4</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Tổng thu ngân sách trên địa bàn</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Triệu đồ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82.10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82.10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3276069"/>
                  </a:ext>
                </a:extLst>
              </a:tr>
              <a:tr h="184820">
                <a:tc>
                  <a:txBody>
                    <a:bodyPr/>
                    <a:lstStyle/>
                    <a:p>
                      <a:pPr algn="ctr" fontAlgn="ctr"/>
                      <a:r>
                        <a:rPr lang="vi-VN" sz="1100" u="none" strike="noStrike">
                          <a:effectLst/>
                          <a:latin typeface="+mj-lt"/>
                        </a:rPr>
                        <a:t>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 Thu tiền sử dụng đấ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Triệu đồ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5.000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5.000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1812595"/>
                  </a:ext>
                </a:extLst>
              </a:tr>
              <a:tr h="184820">
                <a:tc>
                  <a:txBody>
                    <a:bodyPr/>
                    <a:lstStyle/>
                    <a:p>
                      <a:pPr algn="ctr" fontAlgn="ctr"/>
                      <a:r>
                        <a:rPr lang="vi-VN" sz="1100" u="none" strike="noStrike">
                          <a:effectLst/>
                          <a:latin typeface="+mj-lt"/>
                        </a:rPr>
                        <a:t>5</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Doanh thu bán lẻ hàng hóa và dịch vụ</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Tỷ đồ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437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437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6030762"/>
                  </a:ext>
                </a:extLst>
              </a:tr>
              <a:tr h="369641">
                <a:tc>
                  <a:txBody>
                    <a:bodyPr/>
                    <a:lstStyle/>
                    <a:p>
                      <a:pPr algn="ctr" fontAlgn="ctr"/>
                      <a:r>
                        <a:rPr lang="vi-VN" sz="1100" u="none" strike="noStrike">
                          <a:effectLst/>
                          <a:latin typeface="+mj-lt"/>
                        </a:rPr>
                        <a:t>6</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Tỷ lệ dân số tham gia bảo hiểm y tế</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100,0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100,0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3164020"/>
                  </a:ext>
                </a:extLst>
              </a:tr>
              <a:tr h="184820">
                <a:tc>
                  <a:txBody>
                    <a:bodyPr/>
                    <a:lstStyle/>
                    <a:p>
                      <a:pPr algn="ctr" fontAlgn="ctr"/>
                      <a:r>
                        <a:rPr lang="vi-VN" sz="1100" u="none" strike="noStrike">
                          <a:effectLst/>
                          <a:latin typeface="+mj-lt"/>
                        </a:rPr>
                        <a:t>7</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Tỷ lệ trẻ em dưới 5 tuổi suy dinh dưỡng thể nhẹ cân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11,21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11,21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9823549"/>
                  </a:ext>
                </a:extLst>
              </a:tr>
              <a:tr h="184820">
                <a:tc>
                  <a:txBody>
                    <a:bodyPr/>
                    <a:lstStyle/>
                    <a:p>
                      <a:pPr algn="ctr" fontAlgn="ctr"/>
                      <a:r>
                        <a:rPr lang="vi-VN" sz="1100" u="none" strike="noStrike">
                          <a:effectLst/>
                          <a:latin typeface="+mj-lt"/>
                        </a:rPr>
                        <a:t>8</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Giảm tỷ lệ nghèo đa chiều</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8,9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8,9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5690227"/>
                  </a:ext>
                </a:extLst>
              </a:tr>
              <a:tr h="184820">
                <a:tc>
                  <a:txBody>
                    <a:bodyPr/>
                    <a:lstStyle/>
                    <a:p>
                      <a:pPr algn="ctr" fontAlgn="ctr"/>
                      <a:r>
                        <a:rPr lang="vi-VN" sz="1100" u="none" strike="noStrike">
                          <a:effectLst/>
                          <a:latin typeface="+mj-lt"/>
                        </a:rPr>
                        <a:t>9</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Bảo hiểm xã hội tự nguyện</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Người</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706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706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4956913"/>
                  </a:ext>
                </a:extLst>
              </a:tr>
              <a:tr h="184820">
                <a:tc>
                  <a:txBody>
                    <a:bodyPr/>
                    <a:lstStyle/>
                    <a:p>
                      <a:pPr algn="ctr" fontAlgn="ctr"/>
                      <a:r>
                        <a:rPr lang="vi-VN" sz="1100" u="none" strike="noStrike">
                          <a:effectLst/>
                          <a:latin typeface="+mj-lt"/>
                        </a:rPr>
                        <a:t>10</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Tạo việc làm mới</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Người</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50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50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3927087"/>
                  </a:ext>
                </a:extLst>
              </a:tr>
              <a:tr h="184820">
                <a:tc>
                  <a:txBody>
                    <a:bodyPr/>
                    <a:lstStyle/>
                    <a:p>
                      <a:pPr algn="ctr" fontAlgn="ctr"/>
                      <a:r>
                        <a:rPr lang="vi-VN" sz="1100" u="none" strike="noStrike">
                          <a:effectLst/>
                          <a:latin typeface="+mj-lt"/>
                        </a:rPr>
                        <a:t>11</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Đào tạo nghề lao động nông thôn</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Người</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35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2025123"/>
                  </a:ext>
                </a:extLst>
              </a:tr>
              <a:tr h="184820">
                <a:tc>
                  <a:txBody>
                    <a:bodyPr/>
                    <a:lstStyle/>
                    <a:p>
                      <a:pPr algn="ctr" fontAlgn="ctr"/>
                      <a:r>
                        <a:rPr lang="vi-VN" sz="1100" u="none" strike="noStrike">
                          <a:effectLst/>
                          <a:latin typeface="+mj-lt"/>
                        </a:rPr>
                        <a:t>12</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Tỷ lệ che phủ rừng</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72,25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72,25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3894644"/>
                  </a:ext>
                </a:extLst>
              </a:tr>
              <a:tr h="184820">
                <a:tc>
                  <a:txBody>
                    <a:bodyPr/>
                    <a:lstStyle/>
                    <a:p>
                      <a:pPr algn="ctr" fontAlgn="ctr"/>
                      <a:r>
                        <a:rPr lang="vi-VN" sz="1100" u="none" strike="noStrike">
                          <a:solidFill>
                            <a:srgbClr val="FF0000"/>
                          </a:solidFill>
                          <a:effectLst/>
                          <a:latin typeface="+mj-lt"/>
                        </a:rPr>
                        <a:t>13</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solidFill>
                            <a:srgbClr val="FF0000"/>
                          </a:solidFill>
                          <a:effectLst/>
                          <a:latin typeface="+mj-lt"/>
                        </a:rPr>
                        <a:t>Tỷ lệ dân cư đô thị sử dụng nước sạch</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solidFill>
                            <a:srgbClr val="FF0000"/>
                          </a:solidFill>
                          <a:effectLst/>
                          <a:latin typeface="+mj-lt"/>
                        </a:rPr>
                        <a:t>%</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solidFill>
                            <a:srgbClr val="FF0000"/>
                          </a:solidFill>
                          <a:effectLst/>
                          <a:latin typeface="+mj-lt"/>
                        </a:rPr>
                        <a:t>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solidFill>
                            <a:srgbClr val="FF0000"/>
                          </a:solidFill>
                          <a:effectLst/>
                          <a:latin typeface="+mj-lt"/>
                        </a:rPr>
                        <a:t> </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solidFill>
                            <a:srgbClr val="FF0000"/>
                          </a:solidFill>
                          <a:effectLst/>
                          <a:latin typeface="+mj-lt"/>
                        </a:rPr>
                        <a:t>        43,08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solidFill>
                            <a:srgbClr val="FF0000"/>
                          </a:solidFill>
                          <a:effectLst/>
                          <a:latin typeface="+mj-lt"/>
                        </a:rPr>
                        <a:t>           50,26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9919741"/>
                  </a:ext>
                </a:extLst>
              </a:tr>
              <a:tr h="184820">
                <a:tc>
                  <a:txBody>
                    <a:bodyPr/>
                    <a:lstStyle/>
                    <a:p>
                      <a:pPr algn="ctr" fontAlgn="ctr"/>
                      <a:r>
                        <a:rPr lang="vi-VN" sz="1100" u="none" strike="noStrike">
                          <a:effectLst/>
                          <a:latin typeface="+mj-lt"/>
                        </a:rPr>
                        <a:t>14</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vi-VN" sz="1100" u="none" strike="noStrike">
                          <a:effectLst/>
                          <a:latin typeface="+mj-lt"/>
                        </a:rPr>
                        <a:t>Tỷ lệ chất thải rắn ở đô thị được thu gom</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68,0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vi-VN" sz="1100" u="none" strike="noStrike">
                          <a:effectLst/>
                          <a:latin typeface="+mj-lt"/>
                        </a:rPr>
                        <a:t>           68,0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3782958"/>
                  </a:ext>
                </a:extLst>
              </a:tr>
            </a:tbl>
          </a:graphicData>
        </a:graphic>
      </p:graphicFrame>
    </p:spTree>
    <p:extLst>
      <p:ext uri="{BB962C8B-B14F-4D97-AF65-F5344CB8AC3E}">
        <p14:creationId xmlns:p14="http://schemas.microsoft.com/office/powerpoint/2010/main" val="155792118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125730" y="380702"/>
            <a:ext cx="11681460"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rPr>
              <a:t>VỀ GIAO CH</a:t>
            </a:r>
            <a:r>
              <a:rPr lang="en-US" sz="2600" b="1">
                <a:solidFill>
                  <a:srgbClr val="040206"/>
                </a:solidFill>
                <a:latin typeface="Times New Roman" panose="02020603050405020304" pitchFamily="18" charset="0"/>
                <a:cs typeface="Times New Roman" panose="02020603050405020304" pitchFamily="18" charset="0"/>
              </a:rPr>
              <a:t>Ỉ TIÊU KẾ HOẠCH NĂM 2023</a:t>
            </a:r>
            <a:endPar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2" name="Table 1">
            <a:extLst>
              <a:ext uri="{FF2B5EF4-FFF2-40B4-BE49-F238E27FC236}">
                <a16:creationId xmlns:a16="http://schemas.microsoft.com/office/drawing/2014/main" id="{FBFFDBCD-49A2-B604-F9E9-B81E95DF4EB5}"/>
              </a:ext>
            </a:extLst>
          </p:cNvPr>
          <p:cNvGraphicFramePr>
            <a:graphicFrameLocks noGrp="1"/>
          </p:cNvGraphicFramePr>
          <p:nvPr>
            <p:extLst>
              <p:ext uri="{D42A27DB-BD31-4B8C-83A1-F6EECF244321}">
                <p14:modId xmlns:p14="http://schemas.microsoft.com/office/powerpoint/2010/main" val="878797899"/>
              </p:ext>
            </p:extLst>
          </p:nvPr>
        </p:nvGraphicFramePr>
        <p:xfrm>
          <a:off x="6640804" y="1153179"/>
          <a:ext cx="5166386" cy="3261360"/>
        </p:xfrm>
        <a:graphic>
          <a:graphicData uri="http://schemas.openxmlformats.org/drawingml/2006/table">
            <a:tbl>
              <a:tblPr firstRow="1" bandRow="1"/>
              <a:tblGrid>
                <a:gridCol w="5166386">
                  <a:extLst>
                    <a:ext uri="{9D8B030D-6E8A-4147-A177-3AD203B41FA5}">
                      <a16:colId xmlns:a16="http://schemas.microsoft.com/office/drawing/2014/main" val="3655493598"/>
                    </a:ext>
                  </a:extLst>
                </a:gridCol>
              </a:tblGrid>
              <a:tr h="292239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en-US" sz="1800" b="1" kern="1200">
                          <a:solidFill>
                            <a:schemeClr val="dk1"/>
                          </a:solidFill>
                          <a:effectLst/>
                          <a:latin typeface="Times New Roman" panose="02020603050405020304" pitchFamily="18" charset="0"/>
                          <a:ea typeface="+mn-ea"/>
                          <a:cs typeface="Times New Roman" panose="02020603050405020304" pitchFamily="18" charset="0"/>
                        </a:rPr>
                        <a:t>Vĩnh Thạnh: </a:t>
                      </a:r>
                      <a:r>
                        <a:rPr lang="en-US" sz="1800" b="0" kern="1200">
                          <a:solidFill>
                            <a:schemeClr val="dk1"/>
                          </a:solidFill>
                          <a:effectLst/>
                          <a:latin typeface="Times New Roman" panose="02020603050405020304" pitchFamily="18" charset="0"/>
                          <a:ea typeface="+mn-ea"/>
                          <a:cs typeface="Times New Roman" panose="02020603050405020304" pitchFamily="18" charset="0"/>
                        </a:rPr>
                        <a:t>1/14 chỉ tiêu giao thấp hơn UBND tỉnh thông báo (tỷ lệ dân cư đô thị sử dụng nước sạch 66,85%/69,54%), 3/14 chỉ tiêu giao cao hơn UBND tỉnh thông báo, 4/14 chỉ tiêu không giao (chỉ tiêu KNXK (huyện phản hồi địa phương không có KNXK), Giảm tỷ lệ hộ nghèo, đào tạo nghề cho lao động nông thôn, BHXH tự nguyện- tỉnh giao số người huyện thay thế bằng tỷ lệ), 6/13 chỉ tiêu giao bằng chỉ tiêu của UBND tỉnh thông báo.</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Địa phương đã giao chi tiết đến cấp xã và một số chỉ tiêu đã giao theo quý, tháng</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3" name="Table 2">
            <a:extLst>
              <a:ext uri="{FF2B5EF4-FFF2-40B4-BE49-F238E27FC236}">
                <a16:creationId xmlns:a16="http://schemas.microsoft.com/office/drawing/2014/main" id="{746C7B22-BD38-B6A5-7666-44553F0C486D}"/>
              </a:ext>
            </a:extLst>
          </p:cNvPr>
          <p:cNvGraphicFramePr>
            <a:graphicFrameLocks noGrp="1"/>
          </p:cNvGraphicFramePr>
          <p:nvPr>
            <p:extLst>
              <p:ext uri="{D42A27DB-BD31-4B8C-83A1-F6EECF244321}">
                <p14:modId xmlns:p14="http://schemas.microsoft.com/office/powerpoint/2010/main" val="4116172582"/>
              </p:ext>
            </p:extLst>
          </p:nvPr>
        </p:nvGraphicFramePr>
        <p:xfrm>
          <a:off x="162845" y="1032136"/>
          <a:ext cx="6355401" cy="5445150"/>
        </p:xfrm>
        <a:graphic>
          <a:graphicData uri="http://schemas.openxmlformats.org/drawingml/2006/table">
            <a:tbl>
              <a:tblPr>
                <a:tableStyleId>{5C22544A-7EE6-4342-B048-85BDC9FD1C3A}</a:tableStyleId>
              </a:tblPr>
              <a:tblGrid>
                <a:gridCol w="381195">
                  <a:extLst>
                    <a:ext uri="{9D8B030D-6E8A-4147-A177-3AD203B41FA5}">
                      <a16:colId xmlns:a16="http://schemas.microsoft.com/office/drawing/2014/main" val="730573912"/>
                    </a:ext>
                  </a:extLst>
                </a:gridCol>
                <a:gridCol w="3092632">
                  <a:extLst>
                    <a:ext uri="{9D8B030D-6E8A-4147-A177-3AD203B41FA5}">
                      <a16:colId xmlns:a16="http://schemas.microsoft.com/office/drawing/2014/main" val="4068978095"/>
                    </a:ext>
                  </a:extLst>
                </a:gridCol>
                <a:gridCol w="766697">
                  <a:extLst>
                    <a:ext uri="{9D8B030D-6E8A-4147-A177-3AD203B41FA5}">
                      <a16:colId xmlns:a16="http://schemas.microsoft.com/office/drawing/2014/main" val="1302392590"/>
                    </a:ext>
                  </a:extLst>
                </a:gridCol>
                <a:gridCol w="613788">
                  <a:extLst>
                    <a:ext uri="{9D8B030D-6E8A-4147-A177-3AD203B41FA5}">
                      <a16:colId xmlns:a16="http://schemas.microsoft.com/office/drawing/2014/main" val="1746624883"/>
                    </a:ext>
                  </a:extLst>
                </a:gridCol>
                <a:gridCol w="137833">
                  <a:extLst>
                    <a:ext uri="{9D8B030D-6E8A-4147-A177-3AD203B41FA5}">
                      <a16:colId xmlns:a16="http://schemas.microsoft.com/office/drawing/2014/main" val="3221136211"/>
                    </a:ext>
                  </a:extLst>
                </a:gridCol>
                <a:gridCol w="613788">
                  <a:extLst>
                    <a:ext uri="{9D8B030D-6E8A-4147-A177-3AD203B41FA5}">
                      <a16:colId xmlns:a16="http://schemas.microsoft.com/office/drawing/2014/main" val="1364390089"/>
                    </a:ext>
                  </a:extLst>
                </a:gridCol>
                <a:gridCol w="749468">
                  <a:extLst>
                    <a:ext uri="{9D8B030D-6E8A-4147-A177-3AD203B41FA5}">
                      <a16:colId xmlns:a16="http://schemas.microsoft.com/office/drawing/2014/main" val="1664359491"/>
                    </a:ext>
                  </a:extLst>
                </a:gridCol>
              </a:tblGrid>
              <a:tr h="368041">
                <a:tc>
                  <a:txBody>
                    <a:bodyPr/>
                    <a:lstStyle/>
                    <a:p>
                      <a:pPr algn="ctr" fontAlgn="ctr"/>
                      <a:r>
                        <a:rPr lang="vi-VN" sz="1050" u="none" strike="noStrike">
                          <a:effectLst/>
                          <a:latin typeface="+mj-lt"/>
                        </a:rPr>
                        <a:t>ST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Chỉ tiêu</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Đơn vị tính</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vi-VN" sz="1050" u="none" strike="noStrike">
                          <a:effectLst/>
                          <a:latin typeface="+mj-lt"/>
                        </a:rPr>
                        <a:t>Kế hoạch 2023 tỉnh giao</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a:txBody>
                    <a:bodyPr/>
                    <a:lstStyle/>
                    <a:p>
                      <a:pPr algn="ctr" fontAlgn="ctr"/>
                      <a:r>
                        <a:rPr lang="vi-VN" sz="1050" u="none" strike="noStrike">
                          <a:effectLst/>
                          <a:latin typeface="+mj-lt"/>
                        </a:rPr>
                        <a:t>Địa phương giao</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23636633"/>
                  </a:ext>
                </a:extLst>
              </a:tr>
              <a:tr h="195235">
                <a:tc>
                  <a:txBody>
                    <a:bodyPr/>
                    <a:lstStyle/>
                    <a:p>
                      <a:pPr algn="ctr" fontAlgn="ctr"/>
                      <a:r>
                        <a:rPr lang="vi-VN" sz="1050" u="none" strike="noStrike">
                          <a:effectLst/>
                          <a:latin typeface="+mj-lt"/>
                        </a:rPr>
                        <a:t>1</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ổng giá trị sản phẩm (giá so sánh)</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460.539</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464.492</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464.492</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04832278"/>
                  </a:ext>
                </a:extLst>
              </a:tr>
              <a:tr h="195235">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Nông, lâm, thuỷ sản</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544.694</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545.219</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545.219</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55352839"/>
                  </a:ext>
                </a:extLst>
              </a:tr>
              <a:tr h="195235">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Công nghiệp và xây dự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345.426</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347.768</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347.768</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02520703"/>
                  </a:ext>
                </a:extLst>
              </a:tr>
              <a:tr h="195235">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 Công nghiệp</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250.691</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252.945</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252.945</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47748574"/>
                  </a:ext>
                </a:extLst>
              </a:tr>
              <a:tr h="195235">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 Xây dự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94.735</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94.823</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94.823</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78560068"/>
                  </a:ext>
                </a:extLst>
              </a:tr>
              <a:tr h="195235">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Dịch vụ</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570.419</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571.505</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571.505</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44069582"/>
                  </a:ext>
                </a:extLst>
              </a:tr>
              <a:tr h="195235">
                <a:tc>
                  <a:txBody>
                    <a:bodyPr/>
                    <a:lstStyle/>
                    <a:p>
                      <a:pPr algn="ctr" fontAlgn="ctr"/>
                      <a:r>
                        <a:rPr lang="vi-VN" sz="1050" u="none" strike="noStrike">
                          <a:effectLst/>
                          <a:latin typeface="+mj-lt"/>
                        </a:rPr>
                        <a:t>2</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ốc độ tăng giá trị sản phẩm</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7,76</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7,94</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7,94</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18627479"/>
                  </a:ext>
                </a:extLst>
              </a:tr>
              <a:tr h="195235">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Nông, lâm, thuỷ sản</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3,7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3,8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3,8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6866030"/>
                  </a:ext>
                </a:extLst>
              </a:tr>
              <a:tr h="195235">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Công nghiệp và xây dự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10,71</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0,9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0,9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13930988"/>
                  </a:ext>
                </a:extLst>
              </a:tr>
              <a:tr h="195235">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 Công nghiệp</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11,0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1,2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1,2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46356929"/>
                  </a:ext>
                </a:extLst>
              </a:tr>
              <a:tr h="195235">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 Xây dự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7,0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7,1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7,1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647085"/>
                  </a:ext>
                </a:extLst>
              </a:tr>
              <a:tr h="195235">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Dịch vụ</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5,1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5,3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5,3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85024784"/>
                  </a:ext>
                </a:extLst>
              </a:tr>
              <a:tr h="218663">
                <a:tc>
                  <a:txBody>
                    <a:bodyPr/>
                    <a:lstStyle/>
                    <a:p>
                      <a:pPr algn="ctr" fontAlgn="ctr"/>
                      <a:r>
                        <a:rPr lang="vi-VN" sz="1050" u="none" strike="noStrike">
                          <a:effectLst/>
                          <a:latin typeface="+mj-lt"/>
                        </a:rPr>
                        <a:t>3</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Kim ngạch xuất khẩu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USD</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9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83978991"/>
                  </a:ext>
                </a:extLst>
              </a:tr>
              <a:tr h="368041">
                <a:tc>
                  <a:txBody>
                    <a:bodyPr/>
                    <a:lstStyle/>
                    <a:p>
                      <a:pPr algn="ctr" fontAlgn="ctr"/>
                      <a:r>
                        <a:rPr lang="vi-VN" sz="1050" u="none" strike="noStrike">
                          <a:solidFill>
                            <a:srgbClr val="FF0000"/>
                          </a:solidFill>
                          <a:effectLst/>
                          <a:latin typeface="+mj-lt"/>
                        </a:rPr>
                        <a:t>4</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solidFill>
                            <a:srgbClr val="FF0000"/>
                          </a:solidFill>
                          <a:effectLst/>
                          <a:latin typeface="+mj-lt"/>
                        </a:rPr>
                        <a:t>Tổng thu ngân sách trên địa bàn</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Triệu đồng</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77.700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87.800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0522719"/>
                  </a:ext>
                </a:extLst>
              </a:tr>
              <a:tr h="195235">
                <a:tc>
                  <a:txBody>
                    <a:bodyPr/>
                    <a:lstStyle/>
                    <a:p>
                      <a:pPr algn="ctr" fontAlgn="ctr"/>
                      <a:r>
                        <a:rPr lang="vi-VN" sz="1050" u="none" strike="noStrike">
                          <a:effectLst/>
                          <a:latin typeface="+mj-lt"/>
                        </a:rPr>
                        <a:t> </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Thu tiền sử dụng đấ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10.000 </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20.000 </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23705074"/>
                  </a:ext>
                </a:extLst>
              </a:tr>
              <a:tr h="195235">
                <a:tc>
                  <a:txBody>
                    <a:bodyPr/>
                    <a:lstStyle/>
                    <a:p>
                      <a:pPr algn="ctr" fontAlgn="ctr"/>
                      <a:r>
                        <a:rPr lang="vi-VN" sz="1050" u="none" strike="noStrike">
                          <a:effectLst/>
                          <a:latin typeface="+mj-lt"/>
                        </a:rPr>
                        <a:t>5</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Doanh thu bán lẻ hàng hóa và dịch vụ</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ỷ đồ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571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571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1484662"/>
                  </a:ext>
                </a:extLst>
              </a:tr>
              <a:tr h="195235">
                <a:tc>
                  <a:txBody>
                    <a:bodyPr/>
                    <a:lstStyle/>
                    <a:p>
                      <a:pPr algn="ctr" fontAlgn="ctr"/>
                      <a:r>
                        <a:rPr lang="vi-VN" sz="1050" u="none" strike="noStrike">
                          <a:solidFill>
                            <a:srgbClr val="FF0000"/>
                          </a:solidFill>
                          <a:effectLst/>
                          <a:latin typeface="+mj-lt"/>
                        </a:rPr>
                        <a:t>6</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solidFill>
                            <a:srgbClr val="FF0000"/>
                          </a:solidFill>
                          <a:effectLst/>
                          <a:latin typeface="+mj-lt"/>
                        </a:rPr>
                        <a:t>Tỷ lệ dân số tham gia bảo hiểm y tế</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99,04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99,43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5018773"/>
                  </a:ext>
                </a:extLst>
              </a:tr>
              <a:tr h="195235">
                <a:tc>
                  <a:txBody>
                    <a:bodyPr/>
                    <a:lstStyle/>
                    <a:p>
                      <a:pPr algn="ctr" fontAlgn="ctr"/>
                      <a:r>
                        <a:rPr lang="vi-VN" sz="1050" u="none" strike="noStrike">
                          <a:effectLst/>
                          <a:latin typeface="+mj-lt"/>
                        </a:rPr>
                        <a:t>7</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ỷ lệ trẻ em dưới 5 tuổi suy dinh dưỡng thể nhẹ cân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10,29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10,29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8878494"/>
                  </a:ext>
                </a:extLst>
              </a:tr>
              <a:tr h="195235">
                <a:tc>
                  <a:txBody>
                    <a:bodyPr/>
                    <a:lstStyle/>
                    <a:p>
                      <a:pPr algn="ctr" fontAlgn="ctr"/>
                      <a:r>
                        <a:rPr lang="vi-VN" sz="1050" u="none" strike="noStrike">
                          <a:effectLst/>
                          <a:latin typeface="+mj-lt"/>
                        </a:rPr>
                        <a:t>8</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Giảm tỷ lệ nghèo đa chiều</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6,99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05290427"/>
                  </a:ext>
                </a:extLst>
              </a:tr>
              <a:tr h="195235">
                <a:tc>
                  <a:txBody>
                    <a:bodyPr/>
                    <a:lstStyle/>
                    <a:p>
                      <a:pPr algn="ctr" fontAlgn="ctr"/>
                      <a:r>
                        <a:rPr lang="vi-VN" sz="1050" u="none" strike="noStrike">
                          <a:effectLst/>
                          <a:latin typeface="+mj-lt"/>
                        </a:rPr>
                        <a:t>9</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Bảo hiểm xã hội tự nguyện</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Người</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894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99114993"/>
                  </a:ext>
                </a:extLst>
              </a:tr>
              <a:tr h="195235">
                <a:tc>
                  <a:txBody>
                    <a:bodyPr/>
                    <a:lstStyle/>
                    <a:p>
                      <a:pPr algn="ctr" fontAlgn="ctr"/>
                      <a:r>
                        <a:rPr lang="vi-VN" sz="1050" u="none" strike="noStrike">
                          <a:effectLst/>
                          <a:latin typeface="+mj-lt"/>
                        </a:rPr>
                        <a:t>10</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ạo việc làm mới</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Người</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90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90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58290837"/>
                  </a:ext>
                </a:extLst>
              </a:tr>
              <a:tr h="195235">
                <a:tc>
                  <a:txBody>
                    <a:bodyPr/>
                    <a:lstStyle/>
                    <a:p>
                      <a:pPr algn="ctr" fontAlgn="ctr"/>
                      <a:r>
                        <a:rPr lang="vi-VN" sz="1050" u="none" strike="noStrike">
                          <a:effectLst/>
                          <a:latin typeface="+mj-lt"/>
                        </a:rPr>
                        <a:t>11</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Đào tạo nghề lao động nông thôn</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Người</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35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20428184"/>
                  </a:ext>
                </a:extLst>
              </a:tr>
              <a:tr h="195235">
                <a:tc>
                  <a:txBody>
                    <a:bodyPr/>
                    <a:lstStyle/>
                    <a:p>
                      <a:pPr algn="ctr" fontAlgn="ctr"/>
                      <a:r>
                        <a:rPr lang="vi-VN" sz="1050" u="none" strike="noStrike">
                          <a:effectLst/>
                          <a:latin typeface="+mj-lt"/>
                        </a:rPr>
                        <a:t>12</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ỷ lệ che phủ rừng</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76,9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76,9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30040238"/>
                  </a:ext>
                </a:extLst>
              </a:tr>
              <a:tr h="195235">
                <a:tc>
                  <a:txBody>
                    <a:bodyPr/>
                    <a:lstStyle/>
                    <a:p>
                      <a:pPr algn="ctr" fontAlgn="ctr"/>
                      <a:r>
                        <a:rPr lang="vi-VN" sz="1050" u="none" strike="noStrike">
                          <a:effectLst/>
                          <a:latin typeface="+mj-lt"/>
                        </a:rPr>
                        <a:t>13</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algn="l" fontAlgn="ctr"/>
                      <a:r>
                        <a:rPr lang="vi-VN" sz="1050" u="none" strike="noStrike">
                          <a:effectLst/>
                          <a:latin typeface="+mj-lt"/>
                        </a:rPr>
                        <a:t>Tỷ lệ dân cư đô thị sử dụng nước sạch</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algn="ctr" fontAlgn="ctr"/>
                      <a:r>
                        <a:rPr lang="vi-VN" sz="1050" u="none" strike="noStrike">
                          <a:effectLst/>
                          <a:latin typeface="+mj-lt"/>
                        </a:rPr>
                        <a:t>        69,54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algn="ctr" fontAlgn="ctr"/>
                      <a:r>
                        <a:rPr lang="vi-VN" sz="1050" u="none" strike="noStrike">
                          <a:effectLst/>
                          <a:latin typeface="+mj-lt"/>
                        </a:rPr>
                        <a:t>            66,85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3218908948"/>
                  </a:ext>
                </a:extLst>
              </a:tr>
              <a:tr h="195235">
                <a:tc>
                  <a:txBody>
                    <a:bodyPr/>
                    <a:lstStyle/>
                    <a:p>
                      <a:pPr algn="ctr" fontAlgn="ctr"/>
                      <a:r>
                        <a:rPr lang="vi-VN" sz="1050" u="none" strike="noStrike">
                          <a:solidFill>
                            <a:srgbClr val="FF0000"/>
                          </a:solidFill>
                          <a:effectLst/>
                          <a:latin typeface="+mj-lt"/>
                        </a:rPr>
                        <a:t>14</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solidFill>
                            <a:srgbClr val="FF0000"/>
                          </a:solidFill>
                          <a:effectLst/>
                          <a:latin typeface="+mj-lt"/>
                        </a:rPr>
                        <a:t>Tỷ lệ chất thải rắn ở đô thị được thu gom</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57,00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58,00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29637348"/>
                  </a:ext>
                </a:extLst>
              </a:tr>
            </a:tbl>
          </a:graphicData>
        </a:graphic>
      </p:graphicFrame>
    </p:spTree>
    <p:extLst>
      <p:ext uri="{BB962C8B-B14F-4D97-AF65-F5344CB8AC3E}">
        <p14:creationId xmlns:p14="http://schemas.microsoft.com/office/powerpoint/2010/main" val="3875002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255270" y="252114"/>
            <a:ext cx="11681460"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rPr>
              <a:t>TÌNH HÌNH NHẬP DỮ LIỆU LÊN HỆ THỐNG</a:t>
            </a:r>
          </a:p>
        </p:txBody>
      </p:sp>
      <p:graphicFrame>
        <p:nvGraphicFramePr>
          <p:cNvPr id="3" name="Table 2">
            <a:extLst>
              <a:ext uri="{FF2B5EF4-FFF2-40B4-BE49-F238E27FC236}">
                <a16:creationId xmlns:a16="http://schemas.microsoft.com/office/drawing/2014/main" id="{6BBA59B9-D9F6-DED0-B603-5DCA6F827834}"/>
              </a:ext>
            </a:extLst>
          </p:cNvPr>
          <p:cNvGraphicFramePr>
            <a:graphicFrameLocks noGrp="1"/>
          </p:cNvGraphicFramePr>
          <p:nvPr>
            <p:extLst>
              <p:ext uri="{D42A27DB-BD31-4B8C-83A1-F6EECF244321}">
                <p14:modId xmlns:p14="http://schemas.microsoft.com/office/powerpoint/2010/main" val="1038472176"/>
              </p:ext>
            </p:extLst>
          </p:nvPr>
        </p:nvGraphicFramePr>
        <p:xfrm>
          <a:off x="1298194" y="745247"/>
          <a:ext cx="9456492" cy="5885642"/>
        </p:xfrm>
        <a:graphic>
          <a:graphicData uri="http://schemas.openxmlformats.org/drawingml/2006/table">
            <a:tbl>
              <a:tblPr firstRow="1" firstCol="1" bandRow="1">
                <a:tableStyleId>{5C22544A-7EE6-4342-B048-85BDC9FD1C3A}</a:tableStyleId>
              </a:tblPr>
              <a:tblGrid>
                <a:gridCol w="780947">
                  <a:extLst>
                    <a:ext uri="{9D8B030D-6E8A-4147-A177-3AD203B41FA5}">
                      <a16:colId xmlns:a16="http://schemas.microsoft.com/office/drawing/2014/main" val="1479265228"/>
                    </a:ext>
                  </a:extLst>
                </a:gridCol>
                <a:gridCol w="2476082">
                  <a:extLst>
                    <a:ext uri="{9D8B030D-6E8A-4147-A177-3AD203B41FA5}">
                      <a16:colId xmlns:a16="http://schemas.microsoft.com/office/drawing/2014/main" val="1950034283"/>
                    </a:ext>
                  </a:extLst>
                </a:gridCol>
                <a:gridCol w="880844">
                  <a:extLst>
                    <a:ext uri="{9D8B030D-6E8A-4147-A177-3AD203B41FA5}">
                      <a16:colId xmlns:a16="http://schemas.microsoft.com/office/drawing/2014/main" val="2964142514"/>
                    </a:ext>
                  </a:extLst>
                </a:gridCol>
                <a:gridCol w="679508">
                  <a:extLst>
                    <a:ext uri="{9D8B030D-6E8A-4147-A177-3AD203B41FA5}">
                      <a16:colId xmlns:a16="http://schemas.microsoft.com/office/drawing/2014/main" val="349041398"/>
                    </a:ext>
                  </a:extLst>
                </a:gridCol>
                <a:gridCol w="687897">
                  <a:extLst>
                    <a:ext uri="{9D8B030D-6E8A-4147-A177-3AD203B41FA5}">
                      <a16:colId xmlns:a16="http://schemas.microsoft.com/office/drawing/2014/main" val="2141992551"/>
                    </a:ext>
                  </a:extLst>
                </a:gridCol>
                <a:gridCol w="822121">
                  <a:extLst>
                    <a:ext uri="{9D8B030D-6E8A-4147-A177-3AD203B41FA5}">
                      <a16:colId xmlns:a16="http://schemas.microsoft.com/office/drawing/2014/main" val="825995832"/>
                    </a:ext>
                  </a:extLst>
                </a:gridCol>
                <a:gridCol w="721453">
                  <a:extLst>
                    <a:ext uri="{9D8B030D-6E8A-4147-A177-3AD203B41FA5}">
                      <a16:colId xmlns:a16="http://schemas.microsoft.com/office/drawing/2014/main" val="383474513"/>
                    </a:ext>
                  </a:extLst>
                </a:gridCol>
                <a:gridCol w="620786">
                  <a:extLst>
                    <a:ext uri="{9D8B030D-6E8A-4147-A177-3AD203B41FA5}">
                      <a16:colId xmlns:a16="http://schemas.microsoft.com/office/drawing/2014/main" val="3378658294"/>
                    </a:ext>
                  </a:extLst>
                </a:gridCol>
                <a:gridCol w="587229">
                  <a:extLst>
                    <a:ext uri="{9D8B030D-6E8A-4147-A177-3AD203B41FA5}">
                      <a16:colId xmlns:a16="http://schemas.microsoft.com/office/drawing/2014/main" val="2755450612"/>
                    </a:ext>
                  </a:extLst>
                </a:gridCol>
                <a:gridCol w="595618">
                  <a:extLst>
                    <a:ext uri="{9D8B030D-6E8A-4147-A177-3AD203B41FA5}">
                      <a16:colId xmlns:a16="http://schemas.microsoft.com/office/drawing/2014/main" val="98653335"/>
                    </a:ext>
                  </a:extLst>
                </a:gridCol>
                <a:gridCol w="604007">
                  <a:extLst>
                    <a:ext uri="{9D8B030D-6E8A-4147-A177-3AD203B41FA5}">
                      <a16:colId xmlns:a16="http://schemas.microsoft.com/office/drawing/2014/main" val="3539664043"/>
                    </a:ext>
                  </a:extLst>
                </a:gridCol>
              </a:tblGrid>
              <a:tr h="260346">
                <a:tc rowSpan="3">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STT</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Địa phương</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9">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Nhập chi tiết cấp huyện</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1566117082"/>
                  </a:ext>
                </a:extLst>
              </a:tr>
              <a:tr h="750328">
                <a:tc vMerge="1">
                  <a:txBody>
                    <a:bodyPr/>
                    <a:lstStyle/>
                    <a:p>
                      <a:endParaRPr lang="vi-VN"/>
                    </a:p>
                  </a:txBody>
                  <a:tcPr/>
                </a:tc>
                <a:tc vMerge="1">
                  <a:txBody>
                    <a:bodyPr/>
                    <a:lstStyle/>
                    <a:p>
                      <a:endParaRPr lang="vi-VN"/>
                    </a:p>
                  </a:txBody>
                  <a:tcPr/>
                </a:tc>
                <a:tc gridSpan="3">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Nhập chi tiết kế hoạch năm</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Nhập chi tiết theo quý</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Nhập chi tiết tháng</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3810619831"/>
                  </a:ext>
                </a:extLst>
              </a:tr>
              <a:tr h="520692">
                <a:tc vMerge="1">
                  <a:txBody>
                    <a:bodyPr/>
                    <a:lstStyle/>
                    <a:p>
                      <a:endParaRPr lang="vi-VN"/>
                    </a:p>
                  </a:txBody>
                  <a:tcPr/>
                </a:tc>
                <a:tc vMerge="1">
                  <a:txBody>
                    <a:bodyPr/>
                    <a:lstStyle/>
                    <a:p>
                      <a:endParaRPr lang="vi-VN"/>
                    </a:p>
                  </a:txBody>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A</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B</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C</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A</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B</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C</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A</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B</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C</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43698661"/>
                  </a:ext>
                </a:extLst>
              </a:tr>
              <a:tr h="520692">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1</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Thành phố Quy Nhơn</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15000"/>
                        </a:lnSpc>
                        <a:spcBef>
                          <a:spcPts val="0"/>
                        </a:spcBef>
                        <a:spcAft>
                          <a:spcPts val="1000"/>
                        </a:spcAft>
                        <a:buClrTx/>
                        <a:buSzTx/>
                        <a:buFontTx/>
                        <a:buNone/>
                        <a:tabLst/>
                        <a:defRPr/>
                      </a:pPr>
                      <a:r>
                        <a:rPr lang="en-US" sz="1800">
                          <a:solidFill>
                            <a:schemeClr val="tx1"/>
                          </a:solidFill>
                          <a:effectLst/>
                          <a:latin typeface="Times New Roman" panose="02020603050405020304" pitchFamily="18" charset="0"/>
                          <a:cs typeface="Times New Roman" panose="02020603050405020304" pitchFamily="18" charset="0"/>
                        </a:rPr>
                        <a:t>  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93475289"/>
                  </a:ext>
                </a:extLst>
              </a:tr>
              <a:tr h="260346">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2</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Thị xã An Nhơn</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vi-VN" sz="1800">
                        <a:solidFill>
                          <a:schemeClr val="tx1"/>
                        </a:solidFill>
                        <a:effectLst/>
                        <a:latin typeface="Times New Roman" panose="02020603050405020304" pitchFamily="18"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15659689"/>
                  </a:ext>
                </a:extLst>
              </a:tr>
              <a:tr h="260346">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3</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Thị xã Hoài Nhơn</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15000"/>
                        </a:lnSpc>
                        <a:spcBef>
                          <a:spcPts val="0"/>
                        </a:spcBef>
                        <a:spcAft>
                          <a:spcPts val="1000"/>
                        </a:spcAft>
                        <a:buClrTx/>
                        <a:buSzTx/>
                        <a:buFontTx/>
                        <a:buNone/>
                        <a:tabLst/>
                        <a:defRPr/>
                      </a:pPr>
                      <a:r>
                        <a:rPr lang="en-US" sz="1800">
                          <a:solidFill>
                            <a:schemeClr val="tx1"/>
                          </a:solidFill>
                          <a:effectLst/>
                          <a:latin typeface="Times New Roman" panose="02020603050405020304" pitchFamily="18" charset="0"/>
                          <a:cs typeface="Times New Roman" panose="02020603050405020304" pitchFamily="18" charset="0"/>
                        </a:rPr>
                        <a:t> 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13236088"/>
                  </a:ext>
                </a:extLst>
              </a:tr>
              <a:tr h="260346">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4</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Huyện Tuy Phước</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15000"/>
                        </a:lnSpc>
                        <a:spcBef>
                          <a:spcPts val="0"/>
                        </a:spcBef>
                        <a:spcAft>
                          <a:spcPts val="1000"/>
                        </a:spcAft>
                        <a:buClrTx/>
                        <a:buSzTx/>
                        <a:buFontTx/>
                        <a:buNone/>
                        <a:tabLst/>
                        <a:defRPr/>
                      </a:pPr>
                      <a:r>
                        <a:rPr lang="en-US" sz="1800">
                          <a:solidFill>
                            <a:schemeClr val="tx1"/>
                          </a:solidFill>
                          <a:effectLst/>
                          <a:latin typeface="Times New Roman" panose="02020603050405020304" pitchFamily="18" charset="0"/>
                          <a:cs typeface="Times New Roman" panose="02020603050405020304" pitchFamily="18" charset="0"/>
                        </a:rPr>
                        <a:t>  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vi-VN" sz="1800">
                        <a:solidFill>
                          <a:schemeClr val="tx1"/>
                        </a:solidFill>
                        <a:effectLst/>
                        <a:latin typeface="Times New Roman" panose="02020603050405020304" pitchFamily="18"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x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vi-VN" sz="1800">
                        <a:solidFill>
                          <a:schemeClr val="tx1"/>
                        </a:solidFill>
                        <a:effectLst/>
                        <a:latin typeface="Times New Roman" panose="02020603050405020304" pitchFamily="18"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77902096"/>
                  </a:ext>
                </a:extLst>
              </a:tr>
              <a:tr h="260346">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5</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Huyện Phù Cát</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15000"/>
                        </a:lnSpc>
                        <a:spcBef>
                          <a:spcPts val="0"/>
                        </a:spcBef>
                        <a:spcAft>
                          <a:spcPts val="1000"/>
                        </a:spcAft>
                        <a:buClrTx/>
                        <a:buSzTx/>
                        <a:buFontTx/>
                        <a:buNone/>
                        <a:tabLst/>
                        <a:defRPr/>
                      </a:pPr>
                      <a:r>
                        <a:rPr lang="en-US" sz="1800">
                          <a:solidFill>
                            <a:schemeClr val="tx1"/>
                          </a:solidFill>
                          <a:effectLst/>
                          <a:latin typeface="Times New Roman" panose="02020603050405020304" pitchFamily="18" charset="0"/>
                          <a:cs typeface="Times New Roman" panose="02020603050405020304" pitchFamily="18" charset="0"/>
                        </a:rPr>
                        <a:t> 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15000"/>
                        </a:lnSpc>
                        <a:spcBef>
                          <a:spcPts val="0"/>
                        </a:spcBef>
                        <a:spcAft>
                          <a:spcPts val="1000"/>
                        </a:spcAft>
                        <a:buClrTx/>
                        <a:buSzTx/>
                        <a:buFontTx/>
                        <a:buNone/>
                        <a:tabLst/>
                        <a:defRPr/>
                      </a:pPr>
                      <a:r>
                        <a:rPr lang="en-US" sz="1800">
                          <a:solidFill>
                            <a:schemeClr val="tx1"/>
                          </a:solidFill>
                          <a:effectLst/>
                          <a:latin typeface="Times New Roman" panose="02020603050405020304" pitchFamily="18" charset="0"/>
                          <a:cs typeface="Times New Roman" panose="02020603050405020304" pitchFamily="18" charset="0"/>
                        </a:rPr>
                        <a:t>  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15000"/>
                        </a:lnSpc>
                        <a:spcBef>
                          <a:spcPts val="0"/>
                        </a:spcBef>
                        <a:spcAft>
                          <a:spcPts val="1000"/>
                        </a:spcAft>
                        <a:buClrTx/>
                        <a:buSzTx/>
                        <a:buFontTx/>
                        <a:buNone/>
                        <a:tabLst/>
                        <a:defRPr/>
                      </a:pPr>
                      <a:r>
                        <a:rPr lang="en-US" sz="1800">
                          <a:solidFill>
                            <a:schemeClr val="tx1"/>
                          </a:solidFill>
                          <a:effectLst/>
                          <a:latin typeface="Times New Roman" panose="02020603050405020304" pitchFamily="18" charset="0"/>
                          <a:cs typeface="Times New Roman" panose="02020603050405020304" pitchFamily="18" charset="0"/>
                        </a:rPr>
                        <a:t> 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61645764"/>
                  </a:ext>
                </a:extLst>
              </a:tr>
              <a:tr h="260346">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6</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Huyện Phù Mỹ</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15000"/>
                        </a:lnSpc>
                        <a:spcBef>
                          <a:spcPts val="0"/>
                        </a:spcBef>
                        <a:spcAft>
                          <a:spcPts val="1000"/>
                        </a:spcAft>
                        <a:buClrTx/>
                        <a:buSzTx/>
                        <a:buFontTx/>
                        <a:buNone/>
                        <a:tabLst/>
                        <a:defRPr/>
                      </a:pPr>
                      <a:r>
                        <a:rPr lang="en-US" sz="1800">
                          <a:solidFill>
                            <a:schemeClr val="tx1"/>
                          </a:solidFill>
                          <a:effectLst/>
                          <a:latin typeface="Times New Roman" panose="02020603050405020304" pitchFamily="18" charset="0"/>
                          <a:cs typeface="Times New Roman" panose="02020603050405020304" pitchFamily="18" charset="0"/>
                        </a:rPr>
                        <a:t> 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82298654"/>
                  </a:ext>
                </a:extLst>
              </a:tr>
              <a:tr h="260346">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7</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Huyện Tây Sơn</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15000"/>
                        </a:lnSpc>
                        <a:spcBef>
                          <a:spcPts val="0"/>
                        </a:spcBef>
                        <a:spcAft>
                          <a:spcPts val="1000"/>
                        </a:spcAft>
                        <a:buClrTx/>
                        <a:buSzTx/>
                        <a:buFontTx/>
                        <a:buNone/>
                        <a:tabLst/>
                        <a:defRPr/>
                      </a:pPr>
                      <a:r>
                        <a:rPr lang="en-US" sz="1800">
                          <a:solidFill>
                            <a:schemeClr val="tx1"/>
                          </a:solidFill>
                          <a:effectLst/>
                          <a:latin typeface="Times New Roman" panose="02020603050405020304" pitchFamily="18" charset="0"/>
                          <a:cs typeface="Times New Roman" panose="02020603050405020304" pitchFamily="18" charset="0"/>
                        </a:rPr>
                        <a:t> 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vi-VN" sz="1800">
                        <a:solidFill>
                          <a:schemeClr val="tx1"/>
                        </a:solidFill>
                        <a:effectLst/>
                        <a:latin typeface="Times New Roman" panose="02020603050405020304" pitchFamily="18"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9285375"/>
                  </a:ext>
                </a:extLst>
              </a:tr>
              <a:tr h="260346">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8</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Huyện Hoài Ân</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15000"/>
                        </a:lnSpc>
                        <a:spcBef>
                          <a:spcPts val="0"/>
                        </a:spcBef>
                        <a:spcAft>
                          <a:spcPts val="1000"/>
                        </a:spcAft>
                        <a:buClrTx/>
                        <a:buSzTx/>
                        <a:buFontTx/>
                        <a:buNone/>
                        <a:tabLst/>
                        <a:defRPr/>
                      </a:pPr>
                      <a:r>
                        <a:rPr lang="en-US" sz="1800">
                          <a:solidFill>
                            <a:schemeClr val="tx1"/>
                          </a:solidFill>
                          <a:effectLst/>
                          <a:latin typeface="Times New Roman" panose="02020603050405020304" pitchFamily="18" charset="0"/>
                          <a:cs typeface="Times New Roman" panose="02020603050405020304" pitchFamily="18" charset="0"/>
                        </a:rPr>
                        <a:t> 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15000"/>
                        </a:lnSpc>
                        <a:spcBef>
                          <a:spcPts val="0"/>
                        </a:spcBef>
                        <a:spcAft>
                          <a:spcPts val="1000"/>
                        </a:spcAft>
                        <a:buClrTx/>
                        <a:buSzTx/>
                        <a:buFontTx/>
                        <a:buNone/>
                        <a:tabLst/>
                        <a:defRPr/>
                      </a:pPr>
                      <a:r>
                        <a:rPr lang="en-US" sz="1800">
                          <a:solidFill>
                            <a:schemeClr val="tx1"/>
                          </a:solidFill>
                          <a:effectLst/>
                          <a:latin typeface="Times New Roman" panose="02020603050405020304" pitchFamily="18" charset="0"/>
                          <a:cs typeface="Times New Roman" panose="02020603050405020304" pitchFamily="18" charset="0"/>
                        </a:rPr>
                        <a:t> 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58041652"/>
                  </a:ext>
                </a:extLst>
              </a:tr>
              <a:tr h="298916">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9</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Huyện An Lão</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15000"/>
                        </a:lnSpc>
                        <a:spcBef>
                          <a:spcPts val="0"/>
                        </a:spcBef>
                        <a:spcAft>
                          <a:spcPts val="1000"/>
                        </a:spcAft>
                        <a:buClrTx/>
                        <a:buSzTx/>
                        <a:buFontTx/>
                        <a:buNone/>
                        <a:tabLst/>
                        <a:defRPr/>
                      </a:pPr>
                      <a:r>
                        <a:rPr lang="en-US" sz="1800">
                          <a:solidFill>
                            <a:schemeClr val="tx1"/>
                          </a:solidFill>
                          <a:effectLst/>
                          <a:latin typeface="Times New Roman" panose="02020603050405020304" pitchFamily="18" charset="0"/>
                          <a:cs typeface="Times New Roman" panose="02020603050405020304" pitchFamily="18" charset="0"/>
                        </a:rPr>
                        <a:t> 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7184007"/>
                  </a:ext>
                </a:extLst>
              </a:tr>
              <a:tr h="260346">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10</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Huyện Vân Canh</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15000"/>
                        </a:lnSpc>
                        <a:spcBef>
                          <a:spcPts val="0"/>
                        </a:spcBef>
                        <a:spcAft>
                          <a:spcPts val="1000"/>
                        </a:spcAft>
                        <a:buClrTx/>
                        <a:buSzTx/>
                        <a:buFontTx/>
                        <a:buNone/>
                        <a:tabLst/>
                        <a:defRPr/>
                      </a:pPr>
                      <a:r>
                        <a:rPr lang="en-US" sz="1800">
                          <a:solidFill>
                            <a:schemeClr val="tx1"/>
                          </a:solidFill>
                          <a:effectLst/>
                          <a:latin typeface="Times New Roman" panose="02020603050405020304" pitchFamily="18" charset="0"/>
                          <a:cs typeface="Times New Roman" panose="02020603050405020304" pitchFamily="18" charset="0"/>
                        </a:rPr>
                        <a:t> 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0831109"/>
                  </a:ext>
                </a:extLst>
              </a:tr>
              <a:tr h="260346">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11</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Huyện Vĩnh Thạnh</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15000"/>
                        </a:lnSpc>
                        <a:spcBef>
                          <a:spcPts val="0"/>
                        </a:spcBef>
                        <a:spcAft>
                          <a:spcPts val="1000"/>
                        </a:spcAft>
                        <a:buClrTx/>
                        <a:buSzTx/>
                        <a:buFontTx/>
                        <a:buNone/>
                        <a:tabLst/>
                        <a:defRPr/>
                      </a:pPr>
                      <a:r>
                        <a:rPr lang="en-US" sz="1800">
                          <a:solidFill>
                            <a:schemeClr val="tx1"/>
                          </a:solidFill>
                          <a:effectLst/>
                          <a:latin typeface="Times New Roman" panose="02020603050405020304" pitchFamily="18" charset="0"/>
                          <a:cs typeface="Times New Roman" panose="02020603050405020304" pitchFamily="18" charset="0"/>
                        </a:rPr>
                        <a:t>  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r>
                        <a:rPr lang="en-US" sz="1800">
                          <a:solidFill>
                            <a:schemeClr val="tx1"/>
                          </a:solidFill>
                          <a:effectLst/>
                          <a:latin typeface="Times New Roman" panose="02020603050405020304" pitchFamily="18" charset="0"/>
                          <a:cs typeface="Times New Roman" panose="02020603050405020304" pitchFamily="18" charset="0"/>
                        </a:rPr>
                        <a:t> </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15000"/>
                        </a:lnSpc>
                        <a:spcBef>
                          <a:spcPts val="0"/>
                        </a:spcBef>
                        <a:spcAft>
                          <a:spcPts val="1000"/>
                        </a:spcAft>
                        <a:buClrTx/>
                        <a:buSzTx/>
                        <a:buFontTx/>
                        <a:buNone/>
                        <a:tabLst/>
                        <a:defRPr/>
                      </a:pPr>
                      <a:r>
                        <a:rPr lang="en-US" sz="1800">
                          <a:solidFill>
                            <a:schemeClr val="tx1"/>
                          </a:solidFill>
                          <a:effectLst/>
                          <a:latin typeface="Times New Roman" panose="02020603050405020304" pitchFamily="18" charset="0"/>
                          <a:cs typeface="Times New Roman" panose="02020603050405020304" pitchFamily="18" charset="0"/>
                        </a:rPr>
                        <a:t> x</a:t>
                      </a: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1000"/>
                        </a:spcAft>
                      </a:pPr>
                      <a:endParaRPr lang="vi-VN" sz="18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5232924"/>
                  </a:ext>
                </a:extLst>
              </a:tr>
              <a:tr h="241061">
                <a:tc gridSpan="11">
                  <a:txBody>
                    <a:bodyPr/>
                    <a:lstStyle/>
                    <a:p>
                      <a:pPr algn="l">
                        <a:lnSpc>
                          <a:spcPct val="115000"/>
                        </a:lnSpc>
                        <a:spcAft>
                          <a:spcPts val="0"/>
                        </a:spcAft>
                      </a:pPr>
                      <a:r>
                        <a:rPr lang="en-US" sz="1300">
                          <a:solidFill>
                            <a:schemeClr val="tx1"/>
                          </a:solidFill>
                          <a:effectLst/>
                          <a:latin typeface="Times New Roman" panose="02020603050405020304" pitchFamily="18" charset="0"/>
                          <a:cs typeface="Times New Roman" panose="02020603050405020304" pitchFamily="18" charset="0"/>
                        </a:rPr>
                        <a:t>                                                                                      Chú thích:</a:t>
                      </a:r>
                    </a:p>
                    <a:p>
                      <a:pPr algn="ctr">
                        <a:lnSpc>
                          <a:spcPct val="115000"/>
                        </a:lnSpc>
                        <a:spcAft>
                          <a:spcPts val="0"/>
                        </a:spcAft>
                      </a:pPr>
                      <a:r>
                        <a:rPr lang="en-US" sz="1300">
                          <a:solidFill>
                            <a:schemeClr val="tx1"/>
                          </a:solidFill>
                          <a:effectLst/>
                          <a:latin typeface="Times New Roman" panose="02020603050405020304" pitchFamily="18" charset="0"/>
                          <a:cs typeface="Times New Roman" panose="02020603050405020304" pitchFamily="18" charset="0"/>
                        </a:rPr>
                        <a:t>A: Đã nhập</a:t>
                      </a:r>
                    </a:p>
                    <a:p>
                      <a:pPr algn="ctr">
                        <a:lnSpc>
                          <a:spcPct val="115000"/>
                        </a:lnSpc>
                        <a:spcAft>
                          <a:spcPts val="0"/>
                        </a:spcAft>
                      </a:pPr>
                      <a:r>
                        <a:rPr lang="en-US" sz="1300">
                          <a:solidFill>
                            <a:schemeClr val="tx1"/>
                          </a:solidFill>
                          <a:effectLst/>
                          <a:latin typeface="Times New Roman" panose="02020603050405020304" pitchFamily="18" charset="0"/>
                          <a:cs typeface="Times New Roman" panose="02020603050405020304" pitchFamily="18" charset="0"/>
                        </a:rPr>
                        <a:t>                                 B: đã nhập nhưng chưa đầy đủ</a:t>
                      </a:r>
                    </a:p>
                    <a:p>
                      <a:pPr algn="ctr">
                        <a:lnSpc>
                          <a:spcPct val="115000"/>
                        </a:lnSpc>
                        <a:spcAft>
                          <a:spcPts val="0"/>
                        </a:spcAft>
                      </a:pPr>
                      <a:r>
                        <a:rPr lang="en-US" sz="1300">
                          <a:solidFill>
                            <a:schemeClr val="tx1"/>
                          </a:solidFill>
                          <a:effectLst/>
                          <a:latin typeface="Times New Roman" panose="02020603050405020304" pitchFamily="18" charset="0"/>
                          <a:cs typeface="Times New Roman" panose="02020603050405020304" pitchFamily="18" charset="0"/>
                        </a:rPr>
                        <a:t>     C: Chưa nhập</a:t>
                      </a:r>
                      <a:endParaRPr lang="vi-VN" sz="13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1551" marR="6155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4060856127"/>
                  </a:ext>
                </a:extLst>
              </a:tr>
            </a:tbl>
          </a:graphicData>
        </a:graphic>
      </p:graphicFrame>
    </p:spTree>
    <p:extLst>
      <p:ext uri="{BB962C8B-B14F-4D97-AF65-F5344CB8AC3E}">
        <p14:creationId xmlns:p14="http://schemas.microsoft.com/office/powerpoint/2010/main" val="66283430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888124" y="190351"/>
            <a:ext cx="3752587"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rPr>
              <a:t>NHẬN XÉT CHUNG</a:t>
            </a:r>
          </a:p>
        </p:txBody>
      </p:sp>
      <p:graphicFrame>
        <p:nvGraphicFramePr>
          <p:cNvPr id="2" name="Table 1">
            <a:extLst>
              <a:ext uri="{FF2B5EF4-FFF2-40B4-BE49-F238E27FC236}">
                <a16:creationId xmlns:a16="http://schemas.microsoft.com/office/drawing/2014/main" id="{FBFFDBCD-49A2-B604-F9E9-B81E95DF4EB5}"/>
              </a:ext>
            </a:extLst>
          </p:cNvPr>
          <p:cNvGraphicFramePr>
            <a:graphicFrameLocks noGrp="1"/>
          </p:cNvGraphicFramePr>
          <p:nvPr>
            <p:extLst>
              <p:ext uri="{D42A27DB-BD31-4B8C-83A1-F6EECF244321}">
                <p14:modId xmlns:p14="http://schemas.microsoft.com/office/powerpoint/2010/main" val="2136059321"/>
              </p:ext>
            </p:extLst>
          </p:nvPr>
        </p:nvGraphicFramePr>
        <p:xfrm>
          <a:off x="377828" y="762000"/>
          <a:ext cx="11436344" cy="3352800"/>
        </p:xfrm>
        <a:graphic>
          <a:graphicData uri="http://schemas.openxmlformats.org/drawingml/2006/table">
            <a:tbl>
              <a:tblPr firstRow="1" bandRow="1"/>
              <a:tblGrid>
                <a:gridCol w="11436344">
                  <a:extLst>
                    <a:ext uri="{9D8B030D-6E8A-4147-A177-3AD203B41FA5}">
                      <a16:colId xmlns:a16="http://schemas.microsoft.com/office/drawing/2014/main" val="3655493598"/>
                    </a:ext>
                  </a:extLst>
                </a:gridCol>
              </a:tblGrid>
              <a:tr h="292239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6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a:solidFill>
                            <a:schemeClr val="dk1"/>
                          </a:solidFill>
                          <a:effectLst/>
                          <a:latin typeface="Times New Roman" panose="02020603050405020304" pitchFamily="18" charset="0"/>
                          <a:ea typeface="+mn-ea"/>
                          <a:cs typeface="Times New Roman" panose="02020603050405020304" pitchFamily="18" charset="0"/>
                        </a:rPr>
                        <a:t>Sở Kế hoạch và Đầu tư, Sở Thông tin và Truyền thông và UBND các địa phương đã tập trung phối hợp chặt chẽ, đã giao và nhập xong kế hoạch phát triển kinh tế - xã hội năm 2023 của 11/11 huyện, thị xã, thành phố.</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UBND huyện Tuy Phước giao 4 chỉ tiêu thấp hơn thông báo của UBND tỉnh. Sở Kế hoạch và Đầu tư đã làm việc và huyện đang báo cáo HĐND huyện để điều chỉnh.</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UBND huyện Vân Canh đã giao chỉ tiêu năm cho cấp xã, chưa giao chi tiết theo quý, tháng cho cấp xã. Sở Kế hoạch và Đầu tư đã đôn đốc địa phương sớm triển khai theo ý kiến chỉ đạo của Chủ tịch UBND tỉnh và sẽ cập nhật tình hình báo cáo cụ thể UBND tỉnh</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56501718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1349518" y="517521"/>
            <a:ext cx="3752587"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rPr>
              <a:t>KIẾN NGHỊ</a:t>
            </a:r>
          </a:p>
        </p:txBody>
      </p:sp>
      <p:graphicFrame>
        <p:nvGraphicFramePr>
          <p:cNvPr id="2" name="Table 1">
            <a:extLst>
              <a:ext uri="{FF2B5EF4-FFF2-40B4-BE49-F238E27FC236}">
                <a16:creationId xmlns:a16="http://schemas.microsoft.com/office/drawing/2014/main" id="{FBFFDBCD-49A2-B604-F9E9-B81E95DF4EB5}"/>
              </a:ext>
            </a:extLst>
          </p:cNvPr>
          <p:cNvGraphicFramePr>
            <a:graphicFrameLocks noGrp="1"/>
          </p:cNvGraphicFramePr>
          <p:nvPr>
            <p:extLst>
              <p:ext uri="{D42A27DB-BD31-4B8C-83A1-F6EECF244321}">
                <p14:modId xmlns:p14="http://schemas.microsoft.com/office/powerpoint/2010/main" val="1875807174"/>
              </p:ext>
            </p:extLst>
          </p:nvPr>
        </p:nvGraphicFramePr>
        <p:xfrm>
          <a:off x="503663" y="1527485"/>
          <a:ext cx="11436344" cy="1432560"/>
        </p:xfrm>
        <a:graphic>
          <a:graphicData uri="http://schemas.openxmlformats.org/drawingml/2006/table">
            <a:tbl>
              <a:tblPr firstRow="1" bandRow="1"/>
              <a:tblGrid>
                <a:gridCol w="11436344">
                  <a:extLst>
                    <a:ext uri="{9D8B030D-6E8A-4147-A177-3AD203B41FA5}">
                      <a16:colId xmlns:a16="http://schemas.microsoft.com/office/drawing/2014/main" val="3655493598"/>
                    </a:ext>
                  </a:extLst>
                </a:gridCol>
              </a:tblGrid>
              <a:tr h="128491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600" b="0" kern="1200">
                          <a:solidFill>
                            <a:schemeClr val="dk1"/>
                          </a:solidFill>
                          <a:effectLst/>
                          <a:latin typeface="Times New Roman" panose="02020603050405020304" pitchFamily="18" charset="0"/>
                          <a:ea typeface="+mn-ea"/>
                          <a:cs typeface="Times New Roman" panose="02020603050405020304" pitchFamily="18" charset="0"/>
                        </a:rPr>
                        <a:t> Đề nghị các địa phương nghiêm túc nhập đầy đủ các trường thông tin và đúng thời hạn như hướng dẫn của Sở Kế hoạch và Đầu tư</a:t>
                      </a:r>
                      <a:endParaRPr lang="vi-VN" sz="2600" b="0" kern="1200">
                        <a:solidFill>
                          <a:schemeClr val="dk1"/>
                        </a:solidFill>
                        <a:effectLst/>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6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351525989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402462" y="228479"/>
            <a:ext cx="11681460"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KẾT</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QUẢ</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CÁC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HỈ</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IÊU</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HỦ</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YẾU</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02 THÁNG ĐẦU NĂM 2023</a:t>
            </a:r>
            <a:endPar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2" name="Table 1">
            <a:extLst>
              <a:ext uri="{FF2B5EF4-FFF2-40B4-BE49-F238E27FC236}">
                <a16:creationId xmlns:a16="http://schemas.microsoft.com/office/drawing/2014/main" id="{FAC20BB5-6336-83D2-00B5-08BE62939652}"/>
              </a:ext>
            </a:extLst>
          </p:cNvPr>
          <p:cNvGraphicFramePr>
            <a:graphicFrameLocks noGrp="1"/>
          </p:cNvGraphicFramePr>
          <p:nvPr>
            <p:extLst>
              <p:ext uri="{D42A27DB-BD31-4B8C-83A1-F6EECF244321}">
                <p14:modId xmlns:p14="http://schemas.microsoft.com/office/powerpoint/2010/main" val="926847688"/>
              </p:ext>
            </p:extLst>
          </p:nvPr>
        </p:nvGraphicFramePr>
        <p:xfrm>
          <a:off x="243281" y="1061142"/>
          <a:ext cx="11689639" cy="4883005"/>
        </p:xfrm>
        <a:graphic>
          <a:graphicData uri="http://schemas.openxmlformats.org/drawingml/2006/table">
            <a:tbl>
              <a:tblPr>
                <a:tableStyleId>{5C22544A-7EE6-4342-B048-85BDC9FD1C3A}</a:tableStyleId>
              </a:tblPr>
              <a:tblGrid>
                <a:gridCol w="465169">
                  <a:extLst>
                    <a:ext uri="{9D8B030D-6E8A-4147-A177-3AD203B41FA5}">
                      <a16:colId xmlns:a16="http://schemas.microsoft.com/office/drawing/2014/main" val="3669811187"/>
                    </a:ext>
                  </a:extLst>
                </a:gridCol>
                <a:gridCol w="4153386">
                  <a:extLst>
                    <a:ext uri="{9D8B030D-6E8A-4147-A177-3AD203B41FA5}">
                      <a16:colId xmlns:a16="http://schemas.microsoft.com/office/drawing/2014/main" val="3092999806"/>
                    </a:ext>
                  </a:extLst>
                </a:gridCol>
                <a:gridCol w="799523">
                  <a:extLst>
                    <a:ext uri="{9D8B030D-6E8A-4147-A177-3AD203B41FA5}">
                      <a16:colId xmlns:a16="http://schemas.microsoft.com/office/drawing/2014/main" val="1657922896"/>
                    </a:ext>
                  </a:extLst>
                </a:gridCol>
                <a:gridCol w="1040004">
                  <a:extLst>
                    <a:ext uri="{9D8B030D-6E8A-4147-A177-3AD203B41FA5}">
                      <a16:colId xmlns:a16="http://schemas.microsoft.com/office/drawing/2014/main" val="3336393185"/>
                    </a:ext>
                  </a:extLst>
                </a:gridCol>
                <a:gridCol w="1040004">
                  <a:extLst>
                    <a:ext uri="{9D8B030D-6E8A-4147-A177-3AD203B41FA5}">
                      <a16:colId xmlns:a16="http://schemas.microsoft.com/office/drawing/2014/main" val="86624365"/>
                    </a:ext>
                  </a:extLst>
                </a:gridCol>
                <a:gridCol w="1106536">
                  <a:extLst>
                    <a:ext uri="{9D8B030D-6E8A-4147-A177-3AD203B41FA5}">
                      <a16:colId xmlns:a16="http://schemas.microsoft.com/office/drawing/2014/main" val="1829405193"/>
                    </a:ext>
                  </a:extLst>
                </a:gridCol>
                <a:gridCol w="1317072">
                  <a:extLst>
                    <a:ext uri="{9D8B030D-6E8A-4147-A177-3AD203B41FA5}">
                      <a16:colId xmlns:a16="http://schemas.microsoft.com/office/drawing/2014/main" val="1996216410"/>
                    </a:ext>
                  </a:extLst>
                </a:gridCol>
                <a:gridCol w="1767945">
                  <a:extLst>
                    <a:ext uri="{9D8B030D-6E8A-4147-A177-3AD203B41FA5}">
                      <a16:colId xmlns:a16="http://schemas.microsoft.com/office/drawing/2014/main" val="2251961817"/>
                    </a:ext>
                  </a:extLst>
                </a:gridCol>
              </a:tblGrid>
              <a:tr h="585869">
                <a:tc>
                  <a:txBody>
                    <a:bodyPr/>
                    <a:lstStyle/>
                    <a:p>
                      <a:pPr algn="ctr" fontAlgn="ctr"/>
                      <a:r>
                        <a:rPr lang="vi-VN" sz="1600" b="1" u="none" strike="noStrike">
                          <a:effectLst/>
                          <a:latin typeface="+mj-lt"/>
                        </a:rPr>
                        <a:t>STT</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ctr"/>
                      <a:r>
                        <a:rPr lang="vi-VN" sz="1600" b="1" u="none" strike="noStrike">
                          <a:effectLst/>
                          <a:latin typeface="+mj-lt"/>
                        </a:rPr>
                        <a:t>Chỉ tiêu</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ctr"/>
                      <a:r>
                        <a:rPr lang="vi-VN" sz="1600" b="1" u="none" strike="noStrike">
                          <a:effectLst/>
                          <a:latin typeface="+mj-lt"/>
                        </a:rPr>
                        <a:t>Đơn vị</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ctr"/>
                      <a:r>
                        <a:rPr lang="vi-VN" sz="1600" b="1" u="none" strike="noStrike">
                          <a:effectLst/>
                          <a:latin typeface="+mj-lt"/>
                        </a:rPr>
                        <a:t>Kế hoạch 2023</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ctr"/>
                      <a:r>
                        <a:rPr lang="vi-VN" sz="1600" b="1" u="none" strike="noStrike">
                          <a:effectLst/>
                          <a:latin typeface="+mj-lt"/>
                        </a:rPr>
                        <a:t>Thực hiện tháng 01</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ctr"/>
                      <a:r>
                        <a:rPr lang="vi-VN" sz="1600" b="1" u="none" strike="noStrike">
                          <a:effectLst/>
                          <a:latin typeface="+mj-lt"/>
                        </a:rPr>
                        <a:t>Thực hiện tháng 02</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ctr"/>
                      <a:r>
                        <a:rPr lang="vi-VN" sz="1600" b="1" u="none" strike="noStrike">
                          <a:effectLst/>
                          <a:latin typeface="+mj-lt"/>
                        </a:rPr>
                        <a:t>Lũy kế 02 tháng đầu năm</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ctr"/>
                      <a:r>
                        <a:rPr lang="vi-VN" sz="1600" b="1" u="none" strike="noStrike">
                          <a:effectLst/>
                          <a:latin typeface="+mj-lt"/>
                        </a:rPr>
                        <a:t>Thực hiện 02 tháng so với KH năm</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679257273"/>
                  </a:ext>
                </a:extLst>
              </a:tr>
              <a:tr h="206556">
                <a:tc>
                  <a:txBody>
                    <a:bodyPr/>
                    <a:lstStyle/>
                    <a:p>
                      <a:pPr algn="ctr" fontAlgn="ctr"/>
                      <a:r>
                        <a:rPr lang="vi-VN" sz="1400" b="1" u="none" strike="noStrike">
                          <a:effectLst/>
                          <a:latin typeface="+mj-lt"/>
                        </a:rPr>
                        <a:t>I</a:t>
                      </a:r>
                      <a:endParaRPr lang="vi-VN" sz="14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ctr"/>
                      <a:r>
                        <a:rPr lang="vi-VN" sz="1400" b="1" u="none" strike="noStrike">
                          <a:effectLst/>
                          <a:latin typeface="+mj-lt"/>
                        </a:rPr>
                        <a:t>CHỈ TIÊU HỘI ĐỒNG NHÂN DÂN TỈNH GIAO</a:t>
                      </a:r>
                      <a:endParaRPr lang="vi-VN" sz="14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ctr"/>
                      <a:r>
                        <a:rPr lang="vi-VN" sz="1600" u="none" strike="noStrike">
                          <a:effectLst/>
                          <a:latin typeface="+mj-lt"/>
                        </a:rPr>
                        <a:t> </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ctr"/>
                      <a:r>
                        <a:rPr lang="vi-VN" sz="1600" u="none" strike="noStrike">
                          <a:effectLst/>
                          <a:latin typeface="+mj-lt"/>
                        </a:rPr>
                        <a:t> </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ctr"/>
                      <a:r>
                        <a:rPr lang="vi-VN" sz="1600" u="none" strike="noStrike">
                          <a:effectLst/>
                          <a:latin typeface="+mj-lt"/>
                        </a:rPr>
                        <a:t> </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ctr"/>
                      <a:r>
                        <a:rPr lang="vi-VN" sz="1600" u="none" strike="noStrike">
                          <a:effectLst/>
                          <a:latin typeface="+mj-lt"/>
                        </a:rPr>
                        <a:t> </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ctr"/>
                      <a:r>
                        <a:rPr lang="vi-VN" sz="1600" u="none" strike="noStrike">
                          <a:effectLst/>
                          <a:latin typeface="+mj-lt"/>
                        </a:rPr>
                        <a:t> </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ctr"/>
                      <a:r>
                        <a:rPr lang="vi-VN" sz="1600" u="none" strike="noStrike">
                          <a:effectLst/>
                          <a:latin typeface="+mj-lt"/>
                        </a:rPr>
                        <a:t> </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2368449528"/>
                  </a:ext>
                </a:extLst>
              </a:tr>
              <a:tr h="262890">
                <a:tc>
                  <a:txBody>
                    <a:bodyPr/>
                    <a:lstStyle/>
                    <a:p>
                      <a:pPr algn="ctr" fontAlgn="ctr"/>
                      <a:r>
                        <a:rPr lang="vi-VN" sz="1600" u="none" strike="noStrike">
                          <a:effectLst/>
                          <a:latin typeface="+mj-lt"/>
                        </a:rPr>
                        <a:t>1</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u="none" strike="noStrike">
                          <a:effectLst/>
                          <a:latin typeface="+mj-lt"/>
                        </a:rPr>
                        <a:t> Tốc độ tăng GRDP</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7 - 7,5</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5064027"/>
                  </a:ext>
                </a:extLst>
              </a:tr>
              <a:tr h="206556">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u="none" strike="noStrike">
                          <a:effectLst/>
                          <a:latin typeface="+mj-lt"/>
                        </a:rPr>
                        <a:t> Trong đó:</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9873548"/>
                  </a:ext>
                </a:extLst>
              </a:tr>
              <a:tr h="206556">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u="none" strike="noStrike">
                          <a:effectLst/>
                          <a:latin typeface="+mj-lt"/>
                        </a:rPr>
                        <a:t>- Nông, lâm, thuỷ sản</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3,0 - 3,2</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76661442"/>
                  </a:ext>
                </a:extLst>
              </a:tr>
              <a:tr h="262890">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u="none" strike="noStrike">
                          <a:effectLst/>
                          <a:latin typeface="+mj-lt"/>
                        </a:rPr>
                        <a:t>- Công nghiệp và xây dựng</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9,0 - 9,5</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9078679"/>
                  </a:ext>
                </a:extLst>
              </a:tr>
              <a:tr h="262890">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i="1" u="none" strike="noStrike">
                          <a:effectLst/>
                          <a:latin typeface="+mj-lt"/>
                        </a:rPr>
                        <a:t>     + Công nghiệp</a:t>
                      </a:r>
                      <a:endParaRPr lang="vi-VN" sz="16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i="1" u="none" strike="noStrike">
                          <a:effectLst/>
                          <a:latin typeface="+mj-lt"/>
                        </a:rPr>
                        <a:t>%</a:t>
                      </a:r>
                      <a:endParaRPr lang="vi-VN" sz="16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i="1" u="none" strike="noStrike">
                          <a:effectLst/>
                          <a:latin typeface="+mj-lt"/>
                        </a:rPr>
                        <a:t>9,5 - 9,7</a:t>
                      </a:r>
                      <a:endParaRPr lang="vi-VN" sz="16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i="1" u="none" strike="noStrike">
                          <a:effectLst/>
                          <a:latin typeface="+mj-lt"/>
                        </a:rPr>
                        <a:t>-</a:t>
                      </a:r>
                      <a:endParaRPr lang="vi-VN" sz="16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i="1" u="none" strike="noStrike">
                          <a:effectLst/>
                          <a:latin typeface="+mj-lt"/>
                        </a:rPr>
                        <a:t>-</a:t>
                      </a:r>
                      <a:endParaRPr lang="vi-VN" sz="16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i="1" u="none" strike="noStrike">
                          <a:effectLst/>
                          <a:latin typeface="+mj-lt"/>
                        </a:rPr>
                        <a:t> </a:t>
                      </a:r>
                      <a:endParaRPr lang="vi-VN" sz="16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i="1" u="none" strike="noStrike">
                          <a:effectLst/>
                          <a:latin typeface="+mj-lt"/>
                        </a:rPr>
                        <a:t>-</a:t>
                      </a:r>
                      <a:endParaRPr lang="vi-VN" sz="16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77134665"/>
                  </a:ext>
                </a:extLst>
              </a:tr>
              <a:tr h="206556">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u="none" strike="noStrike">
                          <a:effectLst/>
                          <a:latin typeface="+mj-lt"/>
                        </a:rPr>
                        <a:t>- Dịch vụ</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7,9 - 8,7</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02826764"/>
                  </a:ext>
                </a:extLst>
              </a:tr>
              <a:tr h="206556">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u="none" strike="noStrike">
                          <a:effectLst/>
                          <a:latin typeface="+mj-lt"/>
                        </a:rPr>
                        <a:t>- Thuế sản phẩm trừ trợ cấp sản phẩm</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9</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12250737"/>
                  </a:ext>
                </a:extLst>
              </a:tr>
              <a:tr h="309835">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u="none" strike="noStrike">
                          <a:effectLst/>
                          <a:latin typeface="+mj-lt"/>
                        </a:rPr>
                        <a:t>- GRDP bình quân đầu người</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Triệu đồng</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74,9 - 75,2</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72451351"/>
                  </a:ext>
                </a:extLst>
              </a:tr>
              <a:tr h="234723">
                <a:tc>
                  <a:txBody>
                    <a:bodyPr/>
                    <a:lstStyle/>
                    <a:p>
                      <a:pPr algn="ctr" fontAlgn="ctr"/>
                      <a:r>
                        <a:rPr lang="vi-VN" sz="1600" u="none" strike="noStrike">
                          <a:effectLst/>
                          <a:latin typeface="+mj-lt"/>
                        </a:rPr>
                        <a:t>2</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u="none" strike="noStrike">
                          <a:effectLst/>
                          <a:latin typeface="+mj-lt"/>
                        </a:rPr>
                        <a:t> Chỉ số sản xuất CN (IIP)</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7,5 - 7,7</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2,92</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5,74</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r>
                        <a:rPr lang="en-US" sz="1600" u="none" strike="noStrike">
                          <a:effectLst/>
                          <a:latin typeface="+mj-lt"/>
                        </a:rPr>
                        <a:t> </a:t>
                      </a:r>
                      <a:r>
                        <a:rPr lang="vi-VN" sz="1600" u="none" strike="noStrike">
                          <a:effectLst/>
                          <a:latin typeface="+mj-lt"/>
                        </a:rPr>
                        <a:t>0,68</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86148354"/>
                  </a:ext>
                </a:extLst>
              </a:tr>
              <a:tr h="225334">
                <a:tc>
                  <a:txBody>
                    <a:bodyPr/>
                    <a:lstStyle/>
                    <a:p>
                      <a:pPr algn="ctr" fontAlgn="ctr"/>
                      <a:r>
                        <a:rPr lang="vi-VN" sz="1600" u="none" strike="noStrike">
                          <a:effectLst/>
                          <a:latin typeface="+mj-lt"/>
                        </a:rPr>
                        <a:t>3</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u="none" strike="noStrike">
                          <a:effectLst/>
                          <a:latin typeface="+mj-lt"/>
                        </a:rPr>
                        <a:t> Kim ngạch xuất khẩu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Triệu USD</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60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j-lt"/>
                        </a:rPr>
                        <a:t>107,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j-lt"/>
                        </a:rPr>
                        <a:t>1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207,1</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2,94%</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56584662"/>
                  </a:ext>
                </a:extLst>
              </a:tr>
              <a:tr h="413113">
                <a:tc>
                  <a:txBody>
                    <a:bodyPr/>
                    <a:lstStyle/>
                    <a:p>
                      <a:pPr algn="ctr" fontAlgn="ctr"/>
                      <a:r>
                        <a:rPr lang="vi-VN" sz="1600" u="none" strike="noStrike">
                          <a:effectLst/>
                          <a:latin typeface="+mj-lt"/>
                        </a:rPr>
                        <a:t>4</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u="none" strike="noStrike">
                          <a:effectLst/>
                          <a:latin typeface="+mj-lt"/>
                        </a:rPr>
                        <a:t> Tổng thu ngân sách trên địa bàn</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Tỷ đồng</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3.65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809,1</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763,9</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573,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1,52%</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2640552"/>
                  </a:ext>
                </a:extLst>
              </a:tr>
              <a:tr h="206556">
                <a:tc>
                  <a:txBody>
                    <a:bodyPr/>
                    <a:lstStyle/>
                    <a:p>
                      <a:pPr algn="ctr" fontAlgn="ctr"/>
                      <a:r>
                        <a:rPr lang="vi-VN" sz="1600" u="none" strike="noStrike">
                          <a:effectLst/>
                          <a:latin typeface="+mj-lt"/>
                        </a:rPr>
                        <a:t> </a:t>
                      </a:r>
                      <a:endParaRPr lang="vi-VN" sz="16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i="1" u="none" strike="noStrike">
                          <a:effectLst/>
                          <a:latin typeface="+mj-lt"/>
                        </a:rPr>
                        <a:t> Trong đó: Thu nội địa</a:t>
                      </a:r>
                      <a:endParaRPr lang="vi-VN" sz="16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i="1" u="none" strike="noStrike">
                          <a:effectLst/>
                          <a:latin typeface="+mj-lt"/>
                        </a:rPr>
                        <a:t>Tỷ đồng</a:t>
                      </a:r>
                      <a:endParaRPr lang="vi-VN" sz="16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i="1" u="none" strike="noStrike">
                          <a:effectLst/>
                          <a:latin typeface="+mj-lt"/>
                        </a:rPr>
                        <a:t>12.558,5</a:t>
                      </a:r>
                      <a:endParaRPr lang="vi-VN" sz="16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i="1" u="none" strike="noStrike">
                          <a:effectLst/>
                          <a:latin typeface="+mj-lt"/>
                        </a:rPr>
                        <a:t>794,8</a:t>
                      </a:r>
                      <a:endParaRPr lang="vi-VN" sz="16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i="1" u="none" strike="noStrike">
                          <a:effectLst/>
                          <a:latin typeface="+mj-lt"/>
                        </a:rPr>
                        <a:t>730,1</a:t>
                      </a:r>
                      <a:endParaRPr lang="vi-VN" sz="16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i="1" u="none" strike="noStrike">
                          <a:effectLst/>
                          <a:latin typeface="+mj-lt"/>
                        </a:rPr>
                        <a:t>1.524,9</a:t>
                      </a:r>
                      <a:endParaRPr lang="vi-VN" sz="16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i="1" u="none" strike="noStrike">
                          <a:effectLst/>
                          <a:latin typeface="+mj-lt"/>
                        </a:rPr>
                        <a:t>12,14%</a:t>
                      </a:r>
                      <a:endParaRPr lang="vi-VN" sz="16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64488043"/>
                  </a:ext>
                </a:extLst>
              </a:tr>
              <a:tr h="413113">
                <a:tc>
                  <a:txBody>
                    <a:bodyPr/>
                    <a:lstStyle/>
                    <a:p>
                      <a:pPr algn="ctr" fontAlgn="ctr"/>
                      <a:r>
                        <a:rPr lang="vi-VN" sz="1600" u="none" strike="noStrike">
                          <a:effectLst/>
                          <a:latin typeface="+mj-lt"/>
                        </a:rPr>
                        <a:t>5</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u="none" strike="noStrike">
                          <a:effectLst/>
                          <a:latin typeface="+mj-lt"/>
                        </a:rPr>
                        <a:t>Tốc độ tăng Tổng vốn đầu tư phát triển toàn xã hội</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29704047"/>
                  </a:ext>
                </a:extLst>
              </a:tr>
            </a:tbl>
          </a:graphicData>
        </a:graphic>
      </p:graphicFrame>
    </p:spTree>
    <p:extLst>
      <p:ext uri="{BB962C8B-B14F-4D97-AF65-F5344CB8AC3E}">
        <p14:creationId xmlns:p14="http://schemas.microsoft.com/office/powerpoint/2010/main" val="303568965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251460" y="164960"/>
            <a:ext cx="11681460"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KẾT</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QUẢ</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CÁC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HỈ</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IÊU</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HỦ</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YẾU</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02 THÁNG ĐẦU NĂM 2023</a:t>
            </a:r>
            <a:endPar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2" name="Table 1">
            <a:extLst>
              <a:ext uri="{FF2B5EF4-FFF2-40B4-BE49-F238E27FC236}">
                <a16:creationId xmlns:a16="http://schemas.microsoft.com/office/drawing/2014/main" id="{E76DB986-E2D7-83CD-133B-774E10731A3B}"/>
              </a:ext>
            </a:extLst>
          </p:cNvPr>
          <p:cNvGraphicFramePr>
            <a:graphicFrameLocks noGrp="1"/>
          </p:cNvGraphicFramePr>
          <p:nvPr>
            <p:extLst>
              <p:ext uri="{D42A27DB-BD31-4B8C-83A1-F6EECF244321}">
                <p14:modId xmlns:p14="http://schemas.microsoft.com/office/powerpoint/2010/main" val="1008308862"/>
              </p:ext>
            </p:extLst>
          </p:nvPr>
        </p:nvGraphicFramePr>
        <p:xfrm>
          <a:off x="251460" y="903881"/>
          <a:ext cx="11681460" cy="5753279"/>
        </p:xfrm>
        <a:graphic>
          <a:graphicData uri="http://schemas.openxmlformats.org/drawingml/2006/table">
            <a:tbl>
              <a:tblPr>
                <a:tableStyleId>{5C22544A-7EE6-4342-B048-85BDC9FD1C3A}</a:tableStyleId>
              </a:tblPr>
              <a:tblGrid>
                <a:gridCol w="963006">
                  <a:extLst>
                    <a:ext uri="{9D8B030D-6E8A-4147-A177-3AD203B41FA5}">
                      <a16:colId xmlns:a16="http://schemas.microsoft.com/office/drawing/2014/main" val="1802897772"/>
                    </a:ext>
                  </a:extLst>
                </a:gridCol>
                <a:gridCol w="4640234">
                  <a:extLst>
                    <a:ext uri="{9D8B030D-6E8A-4147-A177-3AD203B41FA5}">
                      <a16:colId xmlns:a16="http://schemas.microsoft.com/office/drawing/2014/main" val="974842806"/>
                    </a:ext>
                  </a:extLst>
                </a:gridCol>
                <a:gridCol w="922126">
                  <a:extLst>
                    <a:ext uri="{9D8B030D-6E8A-4147-A177-3AD203B41FA5}">
                      <a16:colId xmlns:a16="http://schemas.microsoft.com/office/drawing/2014/main" val="395494904"/>
                    </a:ext>
                  </a:extLst>
                </a:gridCol>
                <a:gridCol w="2430674">
                  <a:extLst>
                    <a:ext uri="{9D8B030D-6E8A-4147-A177-3AD203B41FA5}">
                      <a16:colId xmlns:a16="http://schemas.microsoft.com/office/drawing/2014/main" val="1515353093"/>
                    </a:ext>
                  </a:extLst>
                </a:gridCol>
                <a:gridCol w="1409700">
                  <a:extLst>
                    <a:ext uri="{9D8B030D-6E8A-4147-A177-3AD203B41FA5}">
                      <a16:colId xmlns:a16="http://schemas.microsoft.com/office/drawing/2014/main" val="3872010428"/>
                    </a:ext>
                  </a:extLst>
                </a:gridCol>
                <a:gridCol w="1315720">
                  <a:extLst>
                    <a:ext uri="{9D8B030D-6E8A-4147-A177-3AD203B41FA5}">
                      <a16:colId xmlns:a16="http://schemas.microsoft.com/office/drawing/2014/main" val="3116676516"/>
                    </a:ext>
                  </a:extLst>
                </a:gridCol>
              </a:tblGrid>
              <a:tr h="502077">
                <a:tc>
                  <a:txBody>
                    <a:bodyPr/>
                    <a:lstStyle/>
                    <a:p>
                      <a:pPr algn="ctr" fontAlgn="ctr"/>
                      <a:r>
                        <a:rPr lang="nl-NL" sz="1800" b="1" u="none" strike="noStrike">
                          <a:effectLst/>
                          <a:latin typeface="Times New Roman" panose="02020603050405020304" pitchFamily="18" charset="0"/>
                          <a:cs typeface="Times New Roman" panose="02020603050405020304" pitchFamily="18" charset="0"/>
                        </a:rPr>
                        <a:t>STT</a:t>
                      </a:r>
                      <a:endParaRPr lang="en-US" sz="1800" b="1"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ctr"/>
                      <a:r>
                        <a:rPr lang="nl-NL" sz="1800" b="1" u="none" strike="noStrike">
                          <a:effectLst/>
                          <a:latin typeface="Times New Roman" panose="02020603050405020304" pitchFamily="18" charset="0"/>
                          <a:cs typeface="Times New Roman" panose="02020603050405020304" pitchFamily="18" charset="0"/>
                        </a:rPr>
                        <a:t>Chỉ tiêu</a:t>
                      </a:r>
                      <a:endParaRPr lang="en-US" sz="1800" b="1"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ctr"/>
                      <a:r>
                        <a:rPr lang="nl-NL" sz="1800" b="1" u="none" strike="noStrike">
                          <a:effectLst/>
                          <a:latin typeface="Times New Roman" panose="02020603050405020304" pitchFamily="18" charset="0"/>
                          <a:cs typeface="Times New Roman" panose="02020603050405020304" pitchFamily="18" charset="0"/>
                        </a:rPr>
                        <a:t>Đơn vị tính</a:t>
                      </a:r>
                      <a:endParaRPr lang="en-US" sz="1800" b="1"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ctr"/>
                      <a:r>
                        <a:rPr lang="nl-NL" sz="1800" b="1" u="none" strike="noStrike">
                          <a:effectLst/>
                          <a:latin typeface="Times New Roman" panose="02020603050405020304" pitchFamily="18" charset="0"/>
                          <a:cs typeface="Times New Roman" panose="02020603050405020304" pitchFamily="18" charset="0"/>
                        </a:rPr>
                        <a:t>Chỉ tiêu năm 2023</a:t>
                      </a:r>
                      <a:endParaRPr lang="en-US" sz="1800" b="1"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ctr"/>
                      <a:r>
                        <a:rPr lang="nl-NL" sz="1800" b="1" u="none" strike="noStrike">
                          <a:effectLst/>
                          <a:latin typeface="Times New Roman" panose="02020603050405020304" pitchFamily="18" charset="0"/>
                          <a:cs typeface="Times New Roman" panose="02020603050405020304" pitchFamily="18" charset="0"/>
                        </a:rPr>
                        <a:t>Thực hiện tháng 01</a:t>
                      </a:r>
                      <a:endParaRPr lang="en-US" sz="1800" b="1"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ctr"/>
                      <a:r>
                        <a:rPr lang="nl-NL" sz="1800" b="1" u="none" strike="noStrike">
                          <a:effectLst/>
                          <a:latin typeface="Times New Roman" panose="02020603050405020304" pitchFamily="18" charset="0"/>
                          <a:cs typeface="Times New Roman" panose="02020603050405020304" pitchFamily="18" charset="0"/>
                        </a:rPr>
                        <a:t>Thực hiện tháng 02</a:t>
                      </a:r>
                      <a:endParaRPr lang="en-US" sz="1800" b="1"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181899501"/>
                  </a:ext>
                </a:extLst>
              </a:tr>
              <a:tr h="377061">
                <a:tc>
                  <a:txBody>
                    <a:bodyPr/>
                    <a:lstStyle/>
                    <a:p>
                      <a:pPr algn="ctr" fontAlgn="ctr"/>
                      <a:r>
                        <a:rPr lang="en-US" sz="1400" b="1" i="0" u="none" strike="noStrike">
                          <a:solidFill>
                            <a:srgbClr val="000000"/>
                          </a:solidFill>
                          <a:effectLst/>
                          <a:latin typeface="Times New Roman" panose="02020603050405020304" pitchFamily="18" charset="0"/>
                          <a:cs typeface="Times New Roman" panose="02020603050405020304" pitchFamily="18" charset="0"/>
                        </a:rPr>
                        <a:t>I</a:t>
                      </a:r>
                    </a:p>
                  </a:txBody>
                  <a:tcPr marL="7912" marR="7912" marT="79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nl-NL" sz="1400" b="1" i="0" u="none" strike="noStrike">
                          <a:solidFill>
                            <a:srgbClr val="000000"/>
                          </a:solidFill>
                          <a:effectLst/>
                          <a:latin typeface="Times New Roman" panose="02020603050405020304" pitchFamily="18" charset="0"/>
                          <a:cs typeface="Times New Roman" panose="02020603050405020304" pitchFamily="18" charset="0"/>
                        </a:rPr>
                        <a:t> CHỈ TIÊU HỘI ĐỒNG NHÂN DÂN TỈNH GIAO</a:t>
                      </a:r>
                      <a:endParaRPr lang="en-US" sz="1400" b="1" i="0" u="none" strike="noStrike">
                        <a:solidFill>
                          <a:srgbClr val="000000"/>
                        </a:solidFill>
                        <a:effectLst/>
                        <a:latin typeface="Times New Roman" panose="02020603050405020304" pitchFamily="18" charset="0"/>
                        <a:cs typeface="Times New Roman" panose="02020603050405020304" pitchFamily="18" charset="0"/>
                      </a:endParaRPr>
                    </a:p>
                  </a:txBody>
                  <a:tcPr marL="7912" marR="7912" marT="79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ctr"/>
                      <a:endParaRPr lang="en-US" sz="1700" b="0" i="0" u="none" strike="noStrike">
                        <a:solidFill>
                          <a:srgbClr val="000000"/>
                        </a:solidFill>
                        <a:effectLst/>
                        <a:latin typeface="Times New Roman" panose="02020603050405020304" pitchFamily="18" charset="0"/>
                        <a:cs typeface="Times New Roman" panose="02020603050405020304" pitchFamily="18" charset="0"/>
                      </a:endParaRPr>
                    </a:p>
                  </a:txBody>
                  <a:tcPr marL="7912" marR="7912" marT="79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ctr"/>
                      <a:endParaRPr lang="en-US" sz="1700" b="0" i="0" u="none" strike="noStrike">
                        <a:solidFill>
                          <a:srgbClr val="000000"/>
                        </a:solidFill>
                        <a:effectLst/>
                        <a:latin typeface="Times New Roman" panose="02020603050405020304" pitchFamily="18" charset="0"/>
                        <a:cs typeface="Times New Roman" panose="02020603050405020304" pitchFamily="18" charset="0"/>
                      </a:endParaRPr>
                    </a:p>
                  </a:txBody>
                  <a:tcPr marL="7912" marR="7912" marT="79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ctr"/>
                      <a:endParaRPr lang="en-US" sz="1700" b="0" i="0" u="none" strike="noStrike">
                        <a:solidFill>
                          <a:srgbClr val="000000"/>
                        </a:solidFill>
                        <a:effectLst/>
                        <a:latin typeface="Times New Roman" panose="02020603050405020304" pitchFamily="18" charset="0"/>
                        <a:cs typeface="Times New Roman" panose="02020603050405020304" pitchFamily="18" charset="0"/>
                      </a:endParaRPr>
                    </a:p>
                  </a:txBody>
                  <a:tcPr marL="7912" marR="7912" marT="79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l" fontAlgn="ctr"/>
                      <a:endParaRPr lang="en-US" sz="1700" b="0" i="0" u="none" strike="noStrike">
                        <a:solidFill>
                          <a:srgbClr val="000000"/>
                        </a:solidFill>
                        <a:effectLst/>
                        <a:latin typeface="Times New Roman" panose="02020603050405020304" pitchFamily="18" charset="0"/>
                        <a:cs typeface="Times New Roman" panose="02020603050405020304" pitchFamily="18" charset="0"/>
                      </a:endParaRPr>
                    </a:p>
                  </a:txBody>
                  <a:tcPr marL="7912" marR="7912" marT="791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644467053"/>
                  </a:ext>
                </a:extLst>
              </a:tr>
              <a:tr h="502077">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6</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nl-NL" sz="1800" u="none" strike="noStrike">
                          <a:effectLst/>
                          <a:latin typeface="Times New Roman" panose="02020603050405020304" pitchFamily="18" charset="0"/>
                          <a:cs typeface="Times New Roman" panose="02020603050405020304" pitchFamily="18" charset="0"/>
                        </a:rPr>
                        <a:t>Duy trì mức sinh thay thế bình quân mỗi phụ nữ trong độ tuổi sinh đẻ có từ 2,0 đến 2,2 con</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 </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Duy trì</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051305"/>
                  </a:ext>
                </a:extLst>
              </a:tr>
              <a:tr h="167359">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7</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nl-NL" sz="1800" u="none" strike="noStrike">
                          <a:effectLst/>
                          <a:latin typeface="Times New Roman" panose="02020603050405020304" pitchFamily="18" charset="0"/>
                          <a:cs typeface="Times New Roman" panose="02020603050405020304" pitchFamily="18" charset="0"/>
                        </a:rPr>
                        <a:t>Tạo việc làm mới</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Người</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28.500</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74473361"/>
                  </a:ext>
                </a:extLst>
              </a:tr>
              <a:tr h="334718">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8</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nl-NL" sz="1800" u="none" strike="noStrike">
                          <a:effectLst/>
                          <a:latin typeface="Times New Roman" panose="02020603050405020304" pitchFamily="18" charset="0"/>
                          <a:cs typeface="Times New Roman" panose="02020603050405020304" pitchFamily="18" charset="0"/>
                        </a:rPr>
                        <a:t>Tỷ lệ lao động đã qua đào tạo, bồi dưỡng nghề</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62</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6310612"/>
                  </a:ext>
                </a:extLst>
              </a:tr>
              <a:tr h="334718">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9</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nl-NL" sz="1800" u="none" strike="noStrike">
                          <a:effectLst/>
                          <a:latin typeface="Times New Roman" panose="02020603050405020304" pitchFamily="18" charset="0"/>
                          <a:cs typeface="Times New Roman" panose="02020603050405020304" pitchFamily="18" charset="0"/>
                        </a:rPr>
                        <a:t>Giảm tỷ lệ hộ nghèo theo tiêu chí mới</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1,8</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44348880"/>
                  </a:ext>
                </a:extLst>
              </a:tr>
              <a:tr h="167359">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10</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nl-NL" sz="1800" u="none" strike="noStrike">
                          <a:effectLst/>
                          <a:latin typeface="Times New Roman" panose="02020603050405020304" pitchFamily="18" charset="0"/>
                          <a:cs typeface="Times New Roman" panose="02020603050405020304" pitchFamily="18" charset="0"/>
                        </a:rPr>
                        <a:t>Tỷ lệ dân số tham gia bảo hiểm y tế</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96,05</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23042317"/>
                  </a:ext>
                </a:extLst>
              </a:tr>
              <a:tr h="334718">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11</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nl-NL" sz="1800" u="none" strike="noStrike">
                          <a:effectLst/>
                          <a:latin typeface="Times New Roman" panose="02020603050405020304" pitchFamily="18" charset="0"/>
                          <a:cs typeface="Times New Roman" panose="02020603050405020304" pitchFamily="18" charset="0"/>
                        </a:rPr>
                        <a:t>Tỷ lệ người lao động tham gia bảo hiểm xã hội</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18,21</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12456479"/>
                  </a:ext>
                </a:extLst>
              </a:tr>
              <a:tr h="167359">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12</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nl-NL" sz="1800" u="none" strike="noStrike">
                          <a:effectLst/>
                          <a:latin typeface="Times New Roman" panose="02020603050405020304" pitchFamily="18" charset="0"/>
                          <a:cs typeface="Times New Roman" panose="02020603050405020304" pitchFamily="18" charset="0"/>
                        </a:rPr>
                        <a:t>Tỷ lệ trạm y tế có bác sỹ</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100</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83404880"/>
                  </a:ext>
                </a:extLst>
              </a:tr>
              <a:tr h="167359">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13</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nl-NL" sz="1800" u="none" strike="noStrike">
                          <a:effectLst/>
                          <a:latin typeface="Times New Roman" panose="02020603050405020304" pitchFamily="18" charset="0"/>
                          <a:cs typeface="Times New Roman" panose="02020603050405020304" pitchFamily="18" charset="0"/>
                        </a:rPr>
                        <a:t>Tỷ lệ xã đạt chuẩn quốc gia về y tế</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100</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2555051"/>
                  </a:ext>
                </a:extLst>
              </a:tr>
              <a:tr h="167359">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14</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nl-NL" sz="1800" u="none" strike="noStrike">
                          <a:effectLst/>
                          <a:latin typeface="Times New Roman" panose="02020603050405020304" pitchFamily="18" charset="0"/>
                          <a:cs typeface="Times New Roman" panose="02020603050405020304" pitchFamily="18" charset="0"/>
                        </a:rPr>
                        <a:t>Số giường bệnh trên 1 vạn dân </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Giường</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35,5</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2226653"/>
                  </a:ext>
                </a:extLst>
              </a:tr>
              <a:tr h="334718">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15</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nl-NL" sz="1800" u="none" strike="noStrike">
                          <a:effectLst/>
                          <a:latin typeface="Times New Roman" panose="02020603050405020304" pitchFamily="18" charset="0"/>
                          <a:cs typeface="Times New Roman" panose="02020603050405020304" pitchFamily="18" charset="0"/>
                        </a:rPr>
                        <a:t>Tỷ lệ suy dinh dưỡng của trẻ em dưới 5 tuổi </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 7,3</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51271403"/>
                  </a:ext>
                </a:extLst>
              </a:tr>
              <a:tr h="167359">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16</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nl-NL" sz="1800" u="none" strike="noStrike">
                          <a:effectLst/>
                          <a:latin typeface="Times New Roman" panose="02020603050405020304" pitchFamily="18" charset="0"/>
                          <a:cs typeface="Times New Roman" panose="02020603050405020304" pitchFamily="18" charset="0"/>
                        </a:rPr>
                        <a:t>Tỷ lệ che phủ rừng</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57,3</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72182068"/>
                  </a:ext>
                </a:extLst>
              </a:tr>
              <a:tr h="334718">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17</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nl-NL" sz="1800" u="none" strike="noStrike">
                          <a:effectLst/>
                          <a:latin typeface="Times New Roman" panose="02020603050405020304" pitchFamily="18" charset="0"/>
                          <a:cs typeface="Times New Roman" panose="02020603050405020304" pitchFamily="18" charset="0"/>
                        </a:rPr>
                        <a:t>Tỷ lệ dân cư nông thôn sử dụng nước hợp vệ sinh</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100</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6853570"/>
                  </a:ext>
                </a:extLst>
              </a:tr>
              <a:tr h="167359">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 </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nl-NL" sz="1800" u="none" strike="noStrike">
                          <a:effectLst/>
                          <a:latin typeface="Times New Roman" panose="02020603050405020304" pitchFamily="18" charset="0"/>
                          <a:cs typeface="Times New Roman" panose="02020603050405020304" pitchFamily="18" charset="0"/>
                        </a:rPr>
                        <a:t>Trong đó: Tỷ lệ sử dụng nước sạch</a:t>
                      </a:r>
                      <a:endParaRPr lang="en-US" sz="1800" b="0" i="1"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1"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33</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170271"/>
                  </a:ext>
                </a:extLst>
              </a:tr>
              <a:tr h="167359">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18</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nl-NL" sz="1800" u="none" strike="noStrike">
                          <a:effectLst/>
                          <a:latin typeface="Times New Roman" panose="02020603050405020304" pitchFamily="18" charset="0"/>
                          <a:cs typeface="Times New Roman" panose="02020603050405020304" pitchFamily="18" charset="0"/>
                        </a:rPr>
                        <a:t>Tỷ lệ dân cư đô thị sử dụng nước sạch</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85,07</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84402528"/>
                  </a:ext>
                </a:extLst>
              </a:tr>
              <a:tr h="334718">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19</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nl-NL" sz="1800" u="none" strike="noStrike">
                          <a:effectLst/>
                          <a:latin typeface="Times New Roman" panose="02020603050405020304" pitchFamily="18" charset="0"/>
                          <a:cs typeface="Times New Roman" panose="02020603050405020304" pitchFamily="18" charset="0"/>
                        </a:rPr>
                        <a:t>Tỷ lệ chất thải rắn ở đô thị được thu gom</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85</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nl-NL" sz="1800" u="none" strike="noStrike">
                          <a:effectLst/>
                          <a:latin typeface="Times New Roman" panose="02020603050405020304" pitchFamily="18" charset="0"/>
                          <a:cs typeface="Times New Roman" panose="02020603050405020304" pitchFamily="18" charset="0"/>
                        </a:rPr>
                        <a:t>-</a:t>
                      </a:r>
                      <a:endParaRPr lang="en-US" sz="1800" b="0" i="0" u="none" strike="noStrike">
                        <a:solidFill>
                          <a:srgbClr val="000000"/>
                        </a:solidFill>
                        <a:effectLst/>
                        <a:latin typeface="Times New Roman" panose="02020603050405020304" pitchFamily="18" charset="0"/>
                        <a:cs typeface="Times New Roman" panose="02020603050405020304" pitchFamily="18" charset="0"/>
                      </a:endParaRPr>
                    </a:p>
                  </a:txBody>
                  <a:tcPr marL="7607" marR="7607" marT="76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3663767"/>
                  </a:ext>
                </a:extLst>
              </a:tr>
            </a:tbl>
          </a:graphicData>
        </a:graphic>
      </p:graphicFrame>
    </p:spTree>
    <p:extLst>
      <p:ext uri="{BB962C8B-B14F-4D97-AF65-F5344CB8AC3E}">
        <p14:creationId xmlns:p14="http://schemas.microsoft.com/office/powerpoint/2010/main" val="40517991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497498" y="2290909"/>
            <a:ext cx="5078584"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416503" y="2571102"/>
            <a:ext cx="5240573" cy="1384995"/>
          </a:xfrm>
          <a:prstGeom prst="rect">
            <a:avLst/>
          </a:prstGeom>
        </p:spPr>
        <p:txBody>
          <a:bodyPr wrap="square">
            <a:spAutoFit/>
          </a:bodyPr>
          <a:lstStyle/>
          <a:p>
            <a:pPr algn="ctr"/>
            <a:r>
              <a:rPr lang="en-US" sz="28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ÌNH HÌNH PHÁT TRIỂN KINH TẾ - XÃ HỘI THÁNG 02 VÀ 02 THÁNG NĂM 2022</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488661" y="633176"/>
            <a:ext cx="1681494"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1" name="Picture 10" descr="A picture containing text, nature, sunset, shore&#10;&#10;Description automatically generated">
            <a:extLst>
              <a:ext uri="{FF2B5EF4-FFF2-40B4-BE49-F238E27FC236}">
                <a16:creationId xmlns:a16="http://schemas.microsoft.com/office/drawing/2014/main" id="{2F860FAF-9492-55AF-50F0-2841DC9DAD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1" y="-10093"/>
            <a:ext cx="6621511" cy="6868093"/>
          </a:xfrm>
          <a:prstGeom prst="rect">
            <a:avLst/>
          </a:prstGeom>
        </p:spPr>
      </p:pic>
    </p:spTree>
    <p:extLst>
      <p:ext uri="{BB962C8B-B14F-4D97-AF65-F5344CB8AC3E}">
        <p14:creationId xmlns:p14="http://schemas.microsoft.com/office/powerpoint/2010/main" val="10795535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384198" y="380702"/>
            <a:ext cx="11681460"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KẾT</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QUẢ</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CÁC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HỈ</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IÊU</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HỦ</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YẾU</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02 THÁNG ĐẦU NĂM 2023</a:t>
            </a:r>
            <a:endPar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2" name="Table 1">
            <a:extLst>
              <a:ext uri="{FF2B5EF4-FFF2-40B4-BE49-F238E27FC236}">
                <a16:creationId xmlns:a16="http://schemas.microsoft.com/office/drawing/2014/main" id="{0D8B5243-E79C-12EE-061D-B81A1D20A95D}"/>
              </a:ext>
            </a:extLst>
          </p:cNvPr>
          <p:cNvGraphicFramePr>
            <a:graphicFrameLocks noGrp="1"/>
          </p:cNvGraphicFramePr>
          <p:nvPr>
            <p:extLst>
              <p:ext uri="{D42A27DB-BD31-4B8C-83A1-F6EECF244321}">
                <p14:modId xmlns:p14="http://schemas.microsoft.com/office/powerpoint/2010/main" val="1700237018"/>
              </p:ext>
            </p:extLst>
          </p:nvPr>
        </p:nvGraphicFramePr>
        <p:xfrm>
          <a:off x="384198" y="1377411"/>
          <a:ext cx="11415983" cy="3681222"/>
        </p:xfrm>
        <a:graphic>
          <a:graphicData uri="http://schemas.openxmlformats.org/drawingml/2006/table">
            <a:tbl>
              <a:tblPr>
                <a:tableStyleId>{5C22544A-7EE6-4342-B048-85BDC9FD1C3A}</a:tableStyleId>
              </a:tblPr>
              <a:tblGrid>
                <a:gridCol w="552795">
                  <a:extLst>
                    <a:ext uri="{9D8B030D-6E8A-4147-A177-3AD203B41FA5}">
                      <a16:colId xmlns:a16="http://schemas.microsoft.com/office/drawing/2014/main" val="4055321165"/>
                    </a:ext>
                  </a:extLst>
                </a:gridCol>
                <a:gridCol w="3850827">
                  <a:extLst>
                    <a:ext uri="{9D8B030D-6E8A-4147-A177-3AD203B41FA5}">
                      <a16:colId xmlns:a16="http://schemas.microsoft.com/office/drawing/2014/main" val="3444249833"/>
                    </a:ext>
                  </a:extLst>
                </a:gridCol>
                <a:gridCol w="799523">
                  <a:extLst>
                    <a:ext uri="{9D8B030D-6E8A-4147-A177-3AD203B41FA5}">
                      <a16:colId xmlns:a16="http://schemas.microsoft.com/office/drawing/2014/main" val="490887499"/>
                    </a:ext>
                  </a:extLst>
                </a:gridCol>
                <a:gridCol w="1040004">
                  <a:extLst>
                    <a:ext uri="{9D8B030D-6E8A-4147-A177-3AD203B41FA5}">
                      <a16:colId xmlns:a16="http://schemas.microsoft.com/office/drawing/2014/main" val="3552833846"/>
                    </a:ext>
                  </a:extLst>
                </a:gridCol>
                <a:gridCol w="1040004">
                  <a:extLst>
                    <a:ext uri="{9D8B030D-6E8A-4147-A177-3AD203B41FA5}">
                      <a16:colId xmlns:a16="http://schemas.microsoft.com/office/drawing/2014/main" val="2455283535"/>
                    </a:ext>
                  </a:extLst>
                </a:gridCol>
                <a:gridCol w="1040004">
                  <a:extLst>
                    <a:ext uri="{9D8B030D-6E8A-4147-A177-3AD203B41FA5}">
                      <a16:colId xmlns:a16="http://schemas.microsoft.com/office/drawing/2014/main" val="3819369056"/>
                    </a:ext>
                  </a:extLst>
                </a:gridCol>
                <a:gridCol w="1356306">
                  <a:extLst>
                    <a:ext uri="{9D8B030D-6E8A-4147-A177-3AD203B41FA5}">
                      <a16:colId xmlns:a16="http://schemas.microsoft.com/office/drawing/2014/main" val="300320761"/>
                    </a:ext>
                  </a:extLst>
                </a:gridCol>
                <a:gridCol w="1736520">
                  <a:extLst>
                    <a:ext uri="{9D8B030D-6E8A-4147-A177-3AD203B41FA5}">
                      <a16:colId xmlns:a16="http://schemas.microsoft.com/office/drawing/2014/main" val="225423417"/>
                    </a:ext>
                  </a:extLst>
                </a:gridCol>
              </a:tblGrid>
              <a:tr h="585869">
                <a:tc>
                  <a:txBody>
                    <a:bodyPr/>
                    <a:lstStyle/>
                    <a:p>
                      <a:pPr algn="ctr" fontAlgn="ctr"/>
                      <a:r>
                        <a:rPr lang="vi-VN" sz="1600" b="1" u="none" strike="noStrike">
                          <a:effectLst/>
                          <a:latin typeface="+mj-lt"/>
                        </a:rPr>
                        <a:t>STT</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ctr"/>
                      <a:r>
                        <a:rPr lang="vi-VN" sz="1600" b="1" u="none" strike="noStrike">
                          <a:effectLst/>
                          <a:latin typeface="+mj-lt"/>
                        </a:rPr>
                        <a:t>Chỉ tiêu</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ctr"/>
                      <a:r>
                        <a:rPr lang="vi-VN" sz="1600" b="1" u="none" strike="noStrike">
                          <a:effectLst/>
                          <a:latin typeface="+mj-lt"/>
                        </a:rPr>
                        <a:t>Đơn vị</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ctr"/>
                      <a:r>
                        <a:rPr lang="vi-VN" sz="1600" b="1" u="none" strike="noStrike">
                          <a:effectLst/>
                          <a:latin typeface="+mj-lt"/>
                        </a:rPr>
                        <a:t>Kế hoạch 2023</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ctr"/>
                      <a:r>
                        <a:rPr lang="vi-VN" sz="1600" b="1" u="none" strike="noStrike">
                          <a:effectLst/>
                          <a:latin typeface="+mj-lt"/>
                        </a:rPr>
                        <a:t>Thực hiện tháng 01</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ctr"/>
                      <a:r>
                        <a:rPr lang="vi-VN" sz="1600" b="1" u="none" strike="noStrike">
                          <a:effectLst/>
                          <a:latin typeface="+mj-lt"/>
                        </a:rPr>
                        <a:t>Thực hiện tháng 02</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ctr"/>
                      <a:r>
                        <a:rPr lang="vi-VN" sz="1600" b="1" u="none" strike="noStrike">
                          <a:effectLst/>
                          <a:latin typeface="+mj-lt"/>
                        </a:rPr>
                        <a:t>Lũy kế 02 tháng đầu năm</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fontAlgn="ctr"/>
                      <a:r>
                        <a:rPr lang="vi-VN" sz="1600" b="1" u="none" strike="noStrike">
                          <a:effectLst/>
                          <a:latin typeface="+mj-lt"/>
                        </a:rPr>
                        <a:t>Thực hiện 02 tháng so với KH năm</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3980381831"/>
                  </a:ext>
                </a:extLst>
              </a:tr>
              <a:tr h="206556">
                <a:tc>
                  <a:txBody>
                    <a:bodyPr/>
                    <a:lstStyle/>
                    <a:p>
                      <a:pPr algn="ctr" fontAlgn="ctr"/>
                      <a:r>
                        <a:rPr lang="vi-VN" sz="1600" b="1" u="none" strike="noStrike">
                          <a:effectLst/>
                          <a:latin typeface="+mj-lt"/>
                        </a:rPr>
                        <a:t>II</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ctr"/>
                      <a:r>
                        <a:rPr lang="vi-VN" sz="1600" b="1" u="none" strike="noStrike">
                          <a:effectLst/>
                          <a:latin typeface="+mj-lt"/>
                        </a:rPr>
                        <a:t>CÁC CHỈ TIÊU KHÁC</a:t>
                      </a:r>
                      <a:endParaRPr lang="vi-VN" sz="16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tc>
                  <a:txBody>
                    <a:bodyPr/>
                    <a:lstStyle/>
                    <a:p>
                      <a:pPr algn="ctr" fontAlgn="ctr"/>
                      <a:r>
                        <a:rPr lang="vi-VN" sz="1600" u="none" strike="noStrike">
                          <a:effectLst/>
                          <a:latin typeface="+mj-lt"/>
                        </a:rPr>
                        <a:t> </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2341314146"/>
                  </a:ext>
                </a:extLst>
              </a:tr>
              <a:tr h="206556">
                <a:tc>
                  <a:txBody>
                    <a:bodyPr/>
                    <a:lstStyle/>
                    <a:p>
                      <a:pPr algn="ctr" fontAlgn="ctr"/>
                      <a:r>
                        <a:rPr lang="vi-VN" sz="1600" u="none" strike="noStrike">
                          <a:effectLst/>
                          <a:latin typeface="+mj-lt"/>
                        </a:rPr>
                        <a:t>1</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u="none" strike="noStrike">
                          <a:effectLst/>
                          <a:latin typeface="+mj-lt"/>
                        </a:rPr>
                        <a:t>Tổng mức bán lẻ hàng hóa và doanh thu dịch vụ tiêu dùng</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Tỷ đồng</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06.264</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9.175</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8.846,7</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8.021,4</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6,96%</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00612632"/>
                  </a:ext>
                </a:extLst>
              </a:tr>
              <a:tr h="206556">
                <a:tc>
                  <a:txBody>
                    <a:bodyPr/>
                    <a:lstStyle/>
                    <a:p>
                      <a:pPr algn="ctr" fontAlgn="ctr"/>
                      <a:r>
                        <a:rPr lang="vi-VN" sz="1600" u="none" strike="noStrike">
                          <a:effectLst/>
                          <a:latin typeface="+mj-lt"/>
                        </a:rPr>
                        <a:t>2</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u="none" strike="noStrike">
                          <a:effectLst/>
                          <a:latin typeface="+mj-lt"/>
                        </a:rPr>
                        <a:t>Số xã đạt chuẩn nông thôn mới</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Xã</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3</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0,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0,0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90254893"/>
                  </a:ext>
                </a:extLst>
              </a:tr>
              <a:tr h="206556">
                <a:tc>
                  <a:txBody>
                    <a:bodyPr/>
                    <a:lstStyle/>
                    <a:p>
                      <a:pPr algn="ctr" fontAlgn="ctr"/>
                      <a:r>
                        <a:rPr lang="vi-VN" sz="1600" u="none" strike="noStrike">
                          <a:effectLst/>
                          <a:latin typeface="+mj-lt"/>
                        </a:rPr>
                        <a:t>3</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u="none" strike="noStrike">
                          <a:effectLst/>
                          <a:latin typeface="+mj-lt"/>
                        </a:rPr>
                        <a:t>Số huyện đạt chuẩn nông thôn mới</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Xã</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0,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0,0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39645468"/>
                  </a:ext>
                </a:extLst>
              </a:tr>
              <a:tr h="206556">
                <a:tc>
                  <a:txBody>
                    <a:bodyPr/>
                    <a:lstStyle/>
                    <a:p>
                      <a:pPr algn="ctr" fontAlgn="ctr"/>
                      <a:r>
                        <a:rPr lang="vi-VN" sz="1600" u="none" strike="noStrike">
                          <a:effectLst/>
                          <a:latin typeface="+mj-lt"/>
                        </a:rPr>
                        <a:t>4</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u="none" strike="noStrike">
                          <a:effectLst/>
                          <a:latin typeface="+mj-lt"/>
                        </a:rPr>
                        <a:t>Tổng lượng khách du lịch</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Lượt</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5.000.00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475.53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478.60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954.13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9,08%</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1590208"/>
                  </a:ext>
                </a:extLst>
              </a:tr>
              <a:tr h="206556">
                <a:tc>
                  <a:txBody>
                    <a:bodyPr/>
                    <a:lstStyle/>
                    <a:p>
                      <a:pPr algn="ctr" fontAlgn="ctr"/>
                      <a:r>
                        <a:rPr lang="vi-VN" sz="1600" u="none" strike="noStrike">
                          <a:effectLst/>
                          <a:latin typeface="+mj-lt"/>
                        </a:rPr>
                        <a:t>5</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u="none" strike="noStrike">
                          <a:effectLst/>
                          <a:latin typeface="+mj-lt"/>
                        </a:rPr>
                        <a:t>Doanh thu du lịch thuần túy</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Tỷ đồng</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6.40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986</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993</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979,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2,07%</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34008077"/>
                  </a:ext>
                </a:extLst>
              </a:tr>
              <a:tr h="413113">
                <a:tc>
                  <a:txBody>
                    <a:bodyPr/>
                    <a:lstStyle/>
                    <a:p>
                      <a:pPr algn="ctr" fontAlgn="ctr"/>
                      <a:r>
                        <a:rPr lang="vi-VN" sz="1600" u="none" strike="noStrike">
                          <a:effectLst/>
                          <a:latin typeface="+mj-lt"/>
                        </a:rPr>
                        <a:t>6</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u="none" strike="noStrike">
                          <a:effectLst/>
                          <a:latin typeface="+mj-lt"/>
                        </a:rPr>
                        <a:t>Thu hút dự án mới</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Dự án</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6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8</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6</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4</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23,33%</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2407033"/>
                  </a:ext>
                </a:extLst>
              </a:tr>
              <a:tr h="319224">
                <a:tc>
                  <a:txBody>
                    <a:bodyPr/>
                    <a:lstStyle/>
                    <a:p>
                      <a:pPr algn="ctr" fontAlgn="ctr"/>
                      <a:r>
                        <a:rPr lang="vi-VN" sz="1600" u="none" strike="noStrike">
                          <a:effectLst/>
                          <a:latin typeface="+mj-lt"/>
                        </a:rPr>
                        <a:t>7</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u="none" strike="noStrike">
                          <a:effectLst/>
                          <a:latin typeface="+mj-lt"/>
                        </a:rPr>
                        <a:t>Số doanh nghiệp thành lập mới</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Số doanh nghiệp</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20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68</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0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68</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4,0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98495307"/>
                  </a:ext>
                </a:extLst>
              </a:tr>
              <a:tr h="206556">
                <a:tc>
                  <a:txBody>
                    <a:bodyPr/>
                    <a:lstStyle/>
                    <a:p>
                      <a:pPr algn="ctr" fontAlgn="ctr"/>
                      <a:r>
                        <a:rPr lang="vi-VN" sz="1600" u="none" strike="noStrike">
                          <a:effectLst/>
                          <a:latin typeface="+mj-lt"/>
                        </a:rPr>
                        <a:t>8</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600" u="none" strike="noStrike">
                          <a:effectLst/>
                          <a:latin typeface="+mj-lt"/>
                        </a:rPr>
                        <a:t>Số vốn đăng ký của doanh nghiệp thành lập mới</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Tỷ đồng</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0.00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896,3</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1.311,7</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2.208,0</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u="none" strike="noStrike">
                          <a:effectLst/>
                          <a:latin typeface="+mj-lt"/>
                        </a:rPr>
                        <a:t>22,08%</a:t>
                      </a:r>
                      <a:endParaRPr lang="vi-VN" sz="16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05951853"/>
                  </a:ext>
                </a:extLst>
              </a:tr>
            </a:tbl>
          </a:graphicData>
        </a:graphic>
      </p:graphicFrame>
    </p:spTree>
    <p:extLst>
      <p:ext uri="{BB962C8B-B14F-4D97-AF65-F5344CB8AC3E}">
        <p14:creationId xmlns:p14="http://schemas.microsoft.com/office/powerpoint/2010/main" val="40929930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02 THÁNG ĐẦU NĂM 2023</a:t>
            </a:r>
            <a:endParaRPr lang="vi-VN" sz="2800" b="1" dirty="0">
              <a:solidFill>
                <a:srgbClr val="064273"/>
              </a:solidFill>
              <a:cs typeface="Arial" panose="020B0604020202020204" pitchFamily="34" charset="0"/>
            </a:endParaRP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FF705920-E1B4-B4D0-9EA4-A27AA5761577}"/>
              </a:ext>
            </a:extLst>
          </p:cNvPr>
          <p:cNvCxnSpPr>
            <a:cxnSpLocks/>
          </p:cNvCxnSpPr>
          <p:nvPr/>
        </p:nvCxnSpPr>
        <p:spPr>
          <a:xfrm>
            <a:off x="777362" y="524236"/>
            <a:ext cx="8475695"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1DC26C3-E6F4-C27A-8624-3A65D81B6008}"/>
              </a:ext>
            </a:extLst>
          </p:cNvPr>
          <p:cNvSpPr/>
          <p:nvPr/>
        </p:nvSpPr>
        <p:spPr>
          <a:xfrm>
            <a:off x="1119325" y="640147"/>
            <a:ext cx="3566682"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 Nông, lâm, thủy sản</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547411490"/>
              </p:ext>
            </p:extLst>
          </p:nvPr>
        </p:nvGraphicFramePr>
        <p:xfrm>
          <a:off x="470640" y="1163367"/>
          <a:ext cx="6525778" cy="5053672"/>
        </p:xfrm>
        <a:graphic>
          <a:graphicData uri="http://schemas.openxmlformats.org/drawingml/2006/table">
            <a:tbl>
              <a:tblPr firstRow="1" bandRow="1"/>
              <a:tblGrid>
                <a:gridCol w="6525778">
                  <a:extLst>
                    <a:ext uri="{9D8B030D-6E8A-4147-A177-3AD203B41FA5}">
                      <a16:colId xmlns:a16="http://schemas.microsoft.com/office/drawing/2014/main" val="3655493598"/>
                    </a:ext>
                  </a:extLst>
                </a:gridCol>
              </a:tblGrid>
              <a:tr h="505367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800" b="0" kern="1200">
                          <a:solidFill>
                            <a:schemeClr val="dk1"/>
                          </a:solidFill>
                          <a:effectLst/>
                          <a:latin typeface="Times New Roman" panose="02020603050405020304" pitchFamily="18" charset="0"/>
                          <a:ea typeface="+mn-ea"/>
                          <a:cs typeface="Times New Roman" panose="02020603050405020304" pitchFamily="18" charset="0"/>
                        </a:rPr>
                        <a:t> Trọng tâm sản xuất nông, lâm nghiệp và thuỷ sản tháng 02 là sản xuất các mặt hàng lương thực, thực phẩm, rau quả...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800" b="0" kern="1200">
                          <a:solidFill>
                            <a:schemeClr val="dk1"/>
                          </a:solidFill>
                          <a:effectLst/>
                          <a:latin typeface="Times New Roman" panose="02020603050405020304" pitchFamily="18" charset="0"/>
                          <a:ea typeface="+mn-ea"/>
                          <a:cs typeface="Times New Roman" panose="02020603050405020304" pitchFamily="18" charset="0"/>
                        </a:rPr>
                        <a:t> Đã gieo sạ được 46.479 ha lúa, đạt 98,8% kế hoạch, giảm 1,6% so với cùng kỳ.</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800" b="0" kern="1200">
                          <a:solidFill>
                            <a:schemeClr val="dk1"/>
                          </a:solidFill>
                          <a:effectLst/>
                          <a:latin typeface="Times New Roman" panose="02020603050405020304" pitchFamily="18" charset="0"/>
                          <a:ea typeface="+mn-ea"/>
                          <a:cs typeface="Times New Roman" panose="02020603050405020304" pitchFamily="18" charset="0"/>
                        </a:rPr>
                        <a:t> Hiện nay còn </a:t>
                      </a:r>
                      <a:r>
                        <a:rPr lang="en-US" sz="2800" b="0" kern="1200">
                          <a:solidFill>
                            <a:schemeClr val="dk1"/>
                          </a:solidFill>
                          <a:effectLst/>
                          <a:latin typeface="Times New Roman" panose="02020603050405020304" pitchFamily="18" charset="0"/>
                          <a:ea typeface="+mn-ea"/>
                          <a:cs typeface="Times New Roman" panose="02020603050405020304" pitchFamily="18" charset="0"/>
                        </a:rPr>
                        <a:t>khoảng 280 ha diện tích lúa vụ Đông Xuân chưa </a:t>
                      </a:r>
                      <a:r>
                        <a:rPr lang="en-US" sz="2800" b="0" kern="1200">
                          <a:solidFill>
                            <a:schemeClr val="tx1"/>
                          </a:solidFill>
                          <a:effectLst/>
                          <a:latin typeface="Times New Roman" panose="02020603050405020304" pitchFamily="18" charset="0"/>
                          <a:ea typeface="+mn-ea"/>
                          <a:cs typeface="Times New Roman" panose="02020603050405020304" pitchFamily="18" charset="0"/>
                        </a:rPr>
                        <a:t>gieo sạ, </a:t>
                      </a:r>
                      <a:r>
                        <a:rPr lang="es-ES" sz="2800" b="0" kern="1200">
                          <a:solidFill>
                            <a:schemeClr val="dk1"/>
                          </a:solidFill>
                          <a:effectLst/>
                          <a:latin typeface="Times New Roman" panose="02020603050405020304" pitchFamily="18" charset="0"/>
                          <a:ea typeface="+mn-ea"/>
                          <a:cs typeface="Times New Roman" panose="02020603050405020304" pitchFamily="18" charset="0"/>
                        </a:rPr>
                        <a:t>tập trung ở các xã miền núi ở Vĩnh Thạnh và thị xã Hoài Nhơn</a:t>
                      </a:r>
                      <a:endParaRPr lang="vi-VN" sz="28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2">
            <a:extLst>
              <a:ext uri="{FF2B5EF4-FFF2-40B4-BE49-F238E27FC236}">
                <a16:creationId xmlns:a16="http://schemas.microsoft.com/office/drawing/2014/main" id="{4D464A2C-A35A-0F4C-1B21-00ECD1B61550}"/>
              </a:ext>
            </a:extLst>
          </p:cNvPr>
          <p:cNvPicPr>
            <a:picLocks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7586111" y="3905015"/>
            <a:ext cx="3981222" cy="2558064"/>
          </a:xfrm>
          <a:prstGeom prst="rect">
            <a:avLst/>
          </a:prstGeom>
          <a:blipFill>
            <a:blip r:embed="rId3"/>
            <a:tile tx="0" ty="0" sx="100000" sy="100000" flip="none" algn="tl"/>
          </a:blipFill>
        </p:spPr>
      </p:pic>
      <p:pic>
        <p:nvPicPr>
          <p:cNvPr id="3" name="Picture 2" descr="Company name&#10;&#10;Description automatically generated with medium confidence">
            <a:extLst>
              <a:ext uri="{FF2B5EF4-FFF2-40B4-BE49-F238E27FC236}">
                <a16:creationId xmlns:a16="http://schemas.microsoft.com/office/drawing/2014/main" id="{0D298A81-C78B-6568-109E-EFA8EF6DD24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0846" y="1399456"/>
            <a:ext cx="4951751" cy="2029544"/>
          </a:xfrm>
          <a:prstGeom prst="rect">
            <a:avLst/>
          </a:prstGeom>
        </p:spPr>
      </p:pic>
    </p:spTree>
    <p:extLst>
      <p:ext uri="{BB962C8B-B14F-4D97-AF65-F5344CB8AC3E}">
        <p14:creationId xmlns:p14="http://schemas.microsoft.com/office/powerpoint/2010/main" val="1563031195"/>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02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FF705920-E1B4-B4D0-9EA4-A27AA5761577}"/>
              </a:ext>
            </a:extLst>
          </p:cNvPr>
          <p:cNvCxnSpPr>
            <a:cxnSpLocks/>
          </p:cNvCxnSpPr>
          <p:nvPr/>
        </p:nvCxnSpPr>
        <p:spPr>
          <a:xfrm>
            <a:off x="777362" y="524236"/>
            <a:ext cx="8475695"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1DC26C3-E6F4-C27A-8624-3A65D81B6008}"/>
              </a:ext>
            </a:extLst>
          </p:cNvPr>
          <p:cNvSpPr/>
          <p:nvPr/>
        </p:nvSpPr>
        <p:spPr>
          <a:xfrm>
            <a:off x="1119325" y="640147"/>
            <a:ext cx="365388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 Nông, lâm, thủy sản</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EEB44773-BF1C-4685-F3FA-DE414C0B2FAD}"/>
              </a:ext>
            </a:extLst>
          </p:cNvPr>
          <p:cNvGraphicFramePr>
            <a:graphicFrameLocks noGrp="1"/>
          </p:cNvGraphicFramePr>
          <p:nvPr>
            <p:extLst>
              <p:ext uri="{D42A27DB-BD31-4B8C-83A1-F6EECF244321}">
                <p14:modId xmlns:p14="http://schemas.microsoft.com/office/powerpoint/2010/main" val="2428758965"/>
              </p:ext>
            </p:extLst>
          </p:nvPr>
        </p:nvGraphicFramePr>
        <p:xfrm>
          <a:off x="712423" y="1381125"/>
          <a:ext cx="11057330" cy="5070749"/>
        </p:xfrm>
        <a:graphic>
          <a:graphicData uri="http://schemas.openxmlformats.org/drawingml/2006/table">
            <a:tbl>
              <a:tblPr>
                <a:tableStyleId>{5C22544A-7EE6-4342-B048-85BDC9FD1C3A}</a:tableStyleId>
              </a:tblPr>
              <a:tblGrid>
                <a:gridCol w="1029187">
                  <a:extLst>
                    <a:ext uri="{9D8B030D-6E8A-4147-A177-3AD203B41FA5}">
                      <a16:colId xmlns:a16="http://schemas.microsoft.com/office/drawing/2014/main" val="3442179524"/>
                    </a:ext>
                  </a:extLst>
                </a:gridCol>
                <a:gridCol w="2956225">
                  <a:extLst>
                    <a:ext uri="{9D8B030D-6E8A-4147-A177-3AD203B41FA5}">
                      <a16:colId xmlns:a16="http://schemas.microsoft.com/office/drawing/2014/main" val="1729723641"/>
                    </a:ext>
                  </a:extLst>
                </a:gridCol>
                <a:gridCol w="1174459">
                  <a:extLst>
                    <a:ext uri="{9D8B030D-6E8A-4147-A177-3AD203B41FA5}">
                      <a16:colId xmlns:a16="http://schemas.microsoft.com/office/drawing/2014/main" val="2763756753"/>
                    </a:ext>
                  </a:extLst>
                </a:gridCol>
                <a:gridCol w="1149291">
                  <a:extLst>
                    <a:ext uri="{9D8B030D-6E8A-4147-A177-3AD203B41FA5}">
                      <a16:colId xmlns:a16="http://schemas.microsoft.com/office/drawing/2014/main" val="3798571491"/>
                    </a:ext>
                  </a:extLst>
                </a:gridCol>
                <a:gridCol w="1040235">
                  <a:extLst>
                    <a:ext uri="{9D8B030D-6E8A-4147-A177-3AD203B41FA5}">
                      <a16:colId xmlns:a16="http://schemas.microsoft.com/office/drawing/2014/main" val="3951422337"/>
                    </a:ext>
                  </a:extLst>
                </a:gridCol>
                <a:gridCol w="1134964">
                  <a:extLst>
                    <a:ext uri="{9D8B030D-6E8A-4147-A177-3AD203B41FA5}">
                      <a16:colId xmlns:a16="http://schemas.microsoft.com/office/drawing/2014/main" val="2750443976"/>
                    </a:ext>
                  </a:extLst>
                </a:gridCol>
                <a:gridCol w="990593">
                  <a:extLst>
                    <a:ext uri="{9D8B030D-6E8A-4147-A177-3AD203B41FA5}">
                      <a16:colId xmlns:a16="http://schemas.microsoft.com/office/drawing/2014/main" val="3030014245"/>
                    </a:ext>
                  </a:extLst>
                </a:gridCol>
                <a:gridCol w="823350">
                  <a:extLst>
                    <a:ext uri="{9D8B030D-6E8A-4147-A177-3AD203B41FA5}">
                      <a16:colId xmlns:a16="http://schemas.microsoft.com/office/drawing/2014/main" val="4174801398"/>
                    </a:ext>
                  </a:extLst>
                </a:gridCol>
                <a:gridCol w="759026">
                  <a:extLst>
                    <a:ext uri="{9D8B030D-6E8A-4147-A177-3AD203B41FA5}">
                      <a16:colId xmlns:a16="http://schemas.microsoft.com/office/drawing/2014/main" val="826787393"/>
                    </a:ext>
                  </a:extLst>
                </a:gridCol>
              </a:tblGrid>
              <a:tr h="314257">
                <a:tc rowSpan="2">
                  <a:txBody>
                    <a:bodyPr/>
                    <a:lstStyle/>
                    <a:p>
                      <a:pPr algn="ctr" fontAlgn="ctr"/>
                      <a:r>
                        <a:rPr lang="vi-VN" sz="1800" u="none" strike="noStrike">
                          <a:effectLst/>
                          <a:latin typeface="+mj-lt"/>
                        </a:rPr>
                        <a:t>TT</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800" u="none" strike="noStrike">
                          <a:effectLst/>
                          <a:latin typeface="+mj-lt"/>
                        </a:rPr>
                        <a:t>Chỉ tiêu</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800" u="none" strike="noStrike">
                          <a:effectLst/>
                          <a:latin typeface="+mj-lt"/>
                        </a:rPr>
                        <a:t>Đơn vị tính</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800" u="none" strike="noStrike">
                          <a:effectLst/>
                          <a:latin typeface="+mj-lt"/>
                        </a:rPr>
                        <a:t>Kế hoạch năm báo cáo</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800" u="none" strike="noStrike">
                          <a:effectLst/>
                          <a:latin typeface="+mj-lt"/>
                        </a:rPr>
                        <a:t>Cùng kỳ năm trước</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vi-VN" sz="1800" u="none" strike="noStrike">
                          <a:effectLst/>
                          <a:latin typeface="+mj-lt"/>
                        </a:rPr>
                        <a:t>Thực hiện</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gridSpan="2">
                  <a:txBody>
                    <a:bodyPr/>
                    <a:lstStyle/>
                    <a:p>
                      <a:pPr algn="ctr" fontAlgn="ctr"/>
                      <a:r>
                        <a:rPr lang="vi-VN" sz="1800" u="none" strike="noStrike">
                          <a:effectLst/>
                          <a:latin typeface="+mj-lt"/>
                        </a:rPr>
                        <a:t>So sánh</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extLst>
                  <a:ext uri="{0D108BD9-81ED-4DB2-BD59-A6C34878D82A}">
                    <a16:rowId xmlns:a16="http://schemas.microsoft.com/office/drawing/2014/main" val="2440675940"/>
                  </a:ext>
                </a:extLst>
              </a:tr>
              <a:tr h="792308">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800" u="none" strike="noStrike">
                          <a:effectLst/>
                          <a:latin typeface="+mj-lt"/>
                        </a:rPr>
                        <a:t>Kỳ báo cáo</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Lũy kế từ đầu năm</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TH/KH</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TH/CK</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70805213"/>
                  </a:ext>
                </a:extLst>
              </a:tr>
              <a:tr h="283783">
                <a:tc>
                  <a:txBody>
                    <a:bodyPr/>
                    <a:lstStyle/>
                    <a:p>
                      <a:pPr algn="ctr" fontAlgn="ctr"/>
                      <a:r>
                        <a:rPr lang="vi-VN" sz="1800" u="none" strike="noStrike">
                          <a:effectLst/>
                          <a:latin typeface="+mj-lt"/>
                        </a:rPr>
                        <a:t>1</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2</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3</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4</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5</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6</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7</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8=7/4</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9=7/5</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7413444"/>
                  </a:ext>
                </a:extLst>
              </a:tr>
              <a:tr h="283783">
                <a:tc>
                  <a:txBody>
                    <a:bodyPr/>
                    <a:lstStyle/>
                    <a:p>
                      <a:pPr algn="ctr" fontAlgn="ctr"/>
                      <a:r>
                        <a:rPr lang="vi-VN" sz="1800" u="none" strike="noStrike">
                          <a:effectLst/>
                          <a:latin typeface="+mj-lt"/>
                        </a:rPr>
                        <a:t>1</a:t>
                      </a:r>
                      <a:endParaRPr lang="vi-VN" sz="1800" b="1"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800" u="none" strike="noStrike">
                          <a:effectLst/>
                          <a:latin typeface="+mj-lt"/>
                        </a:rPr>
                        <a:t>Sản xuất nông, lâm, thủy sản</a:t>
                      </a:r>
                      <a:endParaRPr lang="vi-VN" sz="1800" b="1"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29370893"/>
                  </a:ext>
                </a:extLst>
              </a:tr>
              <a:tr h="283783">
                <a:tc>
                  <a:txBody>
                    <a:bodyPr/>
                    <a:lstStyle/>
                    <a:p>
                      <a:pPr algn="ctr" fontAlgn="ctr"/>
                      <a:r>
                        <a:rPr lang="vi-VN" sz="1800" u="none" strike="noStrike">
                          <a:effectLst/>
                          <a:latin typeface="+mj-lt"/>
                        </a:rPr>
                        <a:t>1.1</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800" u="none" strike="noStrike">
                          <a:effectLst/>
                          <a:latin typeface="+mj-lt"/>
                        </a:rPr>
                        <a:t>Trồng trọt</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0315913"/>
                  </a:ext>
                </a:extLst>
              </a:tr>
              <a:tr h="283783">
                <a:tc>
                  <a:txBody>
                    <a:bodyPr/>
                    <a:lstStyle/>
                    <a:p>
                      <a:pPr algn="ctr" fontAlgn="ctr"/>
                      <a:r>
                        <a:rPr lang="vi-VN" sz="1800" u="none" strike="noStrike">
                          <a:effectLst/>
                          <a:latin typeface="+mj-lt"/>
                        </a:rPr>
                        <a:t>-</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800" u="none" strike="noStrike">
                          <a:effectLst/>
                          <a:latin typeface="+mj-lt"/>
                        </a:rPr>
                        <a:t>Cây lương thực có hạt</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100.970</a:t>
                      </a:r>
                      <a:endParaRPr lang="vi-VN" sz="1800" b="0" i="1"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49.254</a:t>
                      </a:r>
                      <a:endParaRPr lang="vi-VN" sz="1800" b="0" i="1"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48.662</a:t>
                      </a:r>
                      <a:endParaRPr lang="vi-VN" sz="1800" b="0" i="1"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48.662</a:t>
                      </a:r>
                      <a:endParaRPr lang="vi-VN" sz="1800" b="0" i="1"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48,2</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1,2</a:t>
                      </a:r>
                      <a:endParaRPr lang="vi-VN" sz="1800" b="0" i="1"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7785499"/>
                  </a:ext>
                </a:extLst>
              </a:tr>
              <a:tr h="283783">
                <a:tc>
                  <a:txBody>
                    <a:bodyPr/>
                    <a:lstStyle/>
                    <a:p>
                      <a:pPr algn="ctr" fontAlgn="ctr"/>
                      <a:r>
                        <a:rPr lang="vi-VN" sz="1800" u="none" strike="noStrike">
                          <a:effectLst/>
                          <a:latin typeface="+mj-lt"/>
                        </a:rPr>
                        <a:t>+</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800" u="none" strike="noStrike">
                          <a:effectLst/>
                          <a:latin typeface="+mj-lt"/>
                        </a:rPr>
                        <a:t>Cây lúa</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ha</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92.830</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47.215</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46.479</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46.479</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50,1</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1,6</a:t>
                      </a:r>
                      <a:endParaRPr lang="vi-VN" sz="1800" b="0" i="1"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03523756"/>
                  </a:ext>
                </a:extLst>
              </a:tr>
              <a:tr h="283783">
                <a:tc>
                  <a:txBody>
                    <a:bodyPr/>
                    <a:lstStyle/>
                    <a:p>
                      <a:pPr algn="ctr" fontAlgn="ctr"/>
                      <a:r>
                        <a:rPr lang="vi-VN" sz="1800" u="none" strike="noStrike">
                          <a:effectLst/>
                          <a:latin typeface="+mj-lt"/>
                        </a:rPr>
                        <a:t>+</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800" u="none" strike="noStrike">
                          <a:effectLst/>
                          <a:latin typeface="+mj-lt"/>
                        </a:rPr>
                        <a:t>Cây ngô</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ha</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8.140</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2.039</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2.183</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2.183</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26,8</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7,1</a:t>
                      </a:r>
                      <a:endParaRPr lang="vi-VN" sz="1800" b="0" i="1"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25158763"/>
                  </a:ext>
                </a:extLst>
              </a:tr>
              <a:tr h="283783">
                <a:tc>
                  <a:txBody>
                    <a:bodyPr/>
                    <a:lstStyle/>
                    <a:p>
                      <a:pPr algn="ctr" fontAlgn="ctr"/>
                      <a:r>
                        <a:rPr lang="vi-VN" sz="1800" u="none" strike="noStrike">
                          <a:effectLst/>
                          <a:latin typeface="+mj-lt"/>
                        </a:rPr>
                        <a:t>-</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800" u="none" strike="noStrike">
                          <a:effectLst/>
                          <a:latin typeface="+mj-lt"/>
                        </a:rPr>
                        <a:t>Cây lạc</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ha</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10.920</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7.244</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7.964</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7.964</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72,9</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9,9</a:t>
                      </a:r>
                      <a:endParaRPr lang="vi-VN" sz="1800" b="0" i="1"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737812"/>
                  </a:ext>
                </a:extLst>
              </a:tr>
              <a:tr h="283783">
                <a:tc>
                  <a:txBody>
                    <a:bodyPr/>
                    <a:lstStyle/>
                    <a:p>
                      <a:pPr algn="ctr" fontAlgn="ctr"/>
                      <a:r>
                        <a:rPr lang="vi-VN" sz="1800" u="none" strike="noStrike">
                          <a:effectLst/>
                          <a:latin typeface="+mj-lt"/>
                        </a:rPr>
                        <a:t>-</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800" u="none" strike="noStrike">
                          <a:effectLst/>
                          <a:latin typeface="+mj-lt"/>
                        </a:rPr>
                        <a:t>Rau các loại</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ha</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15.920</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4.814</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5.299</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5.299</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33,3</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10,1</a:t>
                      </a:r>
                      <a:endParaRPr lang="vi-VN" sz="1800" b="0" i="1"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70303369"/>
                  </a:ext>
                </a:extLst>
              </a:tr>
              <a:tr h="283783">
                <a:tc>
                  <a:txBody>
                    <a:bodyPr/>
                    <a:lstStyle/>
                    <a:p>
                      <a:pPr algn="ctr" fontAlgn="ctr"/>
                      <a:r>
                        <a:rPr lang="vi-VN" sz="1800" u="none" strike="noStrike">
                          <a:effectLst/>
                          <a:latin typeface="+mj-lt"/>
                        </a:rPr>
                        <a:t>-</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800" u="none" strike="noStrike">
                          <a:effectLst/>
                          <a:latin typeface="+mj-lt"/>
                        </a:rPr>
                        <a:t>Đậu các loại</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ha</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1.842</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1.132</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965</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965</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52,4</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14,8</a:t>
                      </a:r>
                      <a:endParaRPr lang="vi-VN" sz="1800" b="0" i="1"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50764193"/>
                  </a:ext>
                </a:extLst>
              </a:tr>
              <a:tr h="283783">
                <a:tc>
                  <a:txBody>
                    <a:bodyPr/>
                    <a:lstStyle/>
                    <a:p>
                      <a:pPr algn="ctr" fontAlgn="ctr"/>
                      <a:r>
                        <a:rPr lang="vi-VN" sz="1800" u="none" strike="noStrike">
                          <a:effectLst/>
                          <a:latin typeface="+mj-lt"/>
                        </a:rPr>
                        <a:t>1.2</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800" u="none" strike="noStrike">
                          <a:effectLst/>
                          <a:latin typeface="+mj-lt"/>
                        </a:rPr>
                        <a:t>Chăn nuôi</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 </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 </a:t>
                      </a:r>
                      <a:endParaRPr lang="vi-VN" sz="1800" b="0" i="1"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64413730"/>
                  </a:ext>
                </a:extLst>
              </a:tr>
              <a:tr h="283783">
                <a:tc>
                  <a:txBody>
                    <a:bodyPr/>
                    <a:lstStyle/>
                    <a:p>
                      <a:pPr algn="ctr" fontAlgn="ctr"/>
                      <a:r>
                        <a:rPr lang="vi-VN" sz="1800" u="none" strike="noStrike">
                          <a:effectLst/>
                          <a:latin typeface="+mj-lt"/>
                        </a:rPr>
                        <a:t>-</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800" u="none" strike="noStrike">
                          <a:effectLst/>
                          <a:latin typeface="+mj-lt"/>
                        </a:rPr>
                        <a:t>Đàn bò</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con</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309.000</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297.953</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303.768</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303.768</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98,3</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2,0</a:t>
                      </a:r>
                      <a:endParaRPr lang="vi-VN" sz="1800" b="0" i="1"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42560989"/>
                  </a:ext>
                </a:extLst>
              </a:tr>
              <a:tr h="283783">
                <a:tc>
                  <a:txBody>
                    <a:bodyPr/>
                    <a:lstStyle/>
                    <a:p>
                      <a:pPr algn="ctr" fontAlgn="ctr"/>
                      <a:r>
                        <a:rPr lang="vi-VN" sz="1800" u="none" strike="noStrike">
                          <a:effectLst/>
                          <a:latin typeface="+mj-lt"/>
                        </a:rPr>
                        <a:t>-</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800" u="none" strike="noStrike">
                          <a:effectLst/>
                          <a:latin typeface="+mj-lt"/>
                        </a:rPr>
                        <a:t>Đàn heo</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con</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721.000</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689.965</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678.542</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678.542</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94,1</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1,7</a:t>
                      </a:r>
                      <a:endParaRPr lang="vi-VN" sz="1800" b="0" i="1"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66653624"/>
                  </a:ext>
                </a:extLst>
              </a:tr>
              <a:tr h="558044">
                <a:tc>
                  <a:txBody>
                    <a:bodyPr/>
                    <a:lstStyle/>
                    <a:p>
                      <a:pPr algn="ctr" fontAlgn="ctr"/>
                      <a:r>
                        <a:rPr lang="vi-VN" sz="1800" u="none" strike="noStrike">
                          <a:effectLst/>
                          <a:latin typeface="+mj-lt"/>
                        </a:rPr>
                        <a:t>-</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800" u="none" strike="noStrike">
                          <a:effectLst/>
                          <a:latin typeface="+mj-lt"/>
                        </a:rPr>
                        <a:t>Đàn gia cầm</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800" u="none" strike="noStrike">
                          <a:effectLst/>
                          <a:latin typeface="+mj-lt"/>
                        </a:rPr>
                        <a:t>con</a:t>
                      </a:r>
                      <a:endParaRPr lang="vi-VN" sz="18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10.000.000</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8.853.200</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9.196.600</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9.196.600</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92,0</a:t>
                      </a:r>
                      <a:endParaRPr lang="vi-VN" sz="18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800" u="none" strike="noStrike">
                          <a:effectLst/>
                          <a:latin typeface="+mj-lt"/>
                        </a:rPr>
                        <a:t>3,9</a:t>
                      </a:r>
                      <a:endParaRPr lang="vi-VN" sz="1800" b="0" i="1"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6407956"/>
                  </a:ext>
                </a:extLst>
              </a:tr>
            </a:tbl>
          </a:graphicData>
        </a:graphic>
      </p:graphicFrame>
    </p:spTree>
    <p:extLst>
      <p:ext uri="{BB962C8B-B14F-4D97-AF65-F5344CB8AC3E}">
        <p14:creationId xmlns:p14="http://schemas.microsoft.com/office/powerpoint/2010/main" val="3856454999"/>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02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FF705920-E1B4-B4D0-9EA4-A27AA5761577}"/>
              </a:ext>
            </a:extLst>
          </p:cNvPr>
          <p:cNvCxnSpPr>
            <a:cxnSpLocks/>
          </p:cNvCxnSpPr>
          <p:nvPr/>
        </p:nvCxnSpPr>
        <p:spPr>
          <a:xfrm>
            <a:off x="777362" y="524236"/>
            <a:ext cx="8509251"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1DC26C3-E6F4-C27A-8624-3A65D81B6008}"/>
              </a:ext>
            </a:extLst>
          </p:cNvPr>
          <p:cNvSpPr/>
          <p:nvPr/>
        </p:nvSpPr>
        <p:spPr>
          <a:xfrm>
            <a:off x="535149" y="679598"/>
            <a:ext cx="365388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 Nông, lâm, thủy sản</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74371246"/>
              </p:ext>
            </p:extLst>
          </p:nvPr>
        </p:nvGraphicFramePr>
        <p:xfrm>
          <a:off x="535150" y="1790444"/>
          <a:ext cx="3843904" cy="2042160"/>
        </p:xfrm>
        <a:graphic>
          <a:graphicData uri="http://schemas.openxmlformats.org/drawingml/2006/table">
            <a:tbl>
              <a:tblPr firstRow="1" bandRow="1"/>
              <a:tblGrid>
                <a:gridCol w="3843904">
                  <a:extLst>
                    <a:ext uri="{9D8B030D-6E8A-4147-A177-3AD203B41FA5}">
                      <a16:colId xmlns:a16="http://schemas.microsoft.com/office/drawing/2014/main" val="3655493598"/>
                    </a:ext>
                  </a:extLst>
                </a:gridCol>
              </a:tblGrid>
              <a:tr h="171405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 </a:t>
                      </a:r>
                      <a:r>
                        <a:rPr lang="es-ES" sz="3200" b="0" kern="1200">
                          <a:solidFill>
                            <a:schemeClr val="tx1"/>
                          </a:solidFill>
                          <a:effectLst/>
                          <a:latin typeface="Times New Roman" panose="02020603050405020304" pitchFamily="18" charset="0"/>
                          <a:ea typeface="+mn-ea"/>
                          <a:cs typeface="Times New Roman" panose="02020603050405020304" pitchFamily="18" charset="0"/>
                        </a:rPr>
                        <a:t>Tình hình thực hiện</a:t>
                      </a:r>
                      <a:r>
                        <a:rPr lang="vi-VN" sz="3200" b="0" kern="1200">
                          <a:solidFill>
                            <a:schemeClr val="tx1"/>
                          </a:solidFill>
                          <a:effectLst/>
                          <a:latin typeface="Times New Roman" panose="02020603050405020304" pitchFamily="18" charset="0"/>
                          <a:ea typeface="+mn-ea"/>
                          <a:cs typeface="Times New Roman" panose="02020603050405020304" pitchFamily="18" charset="0"/>
                        </a:rPr>
                        <a:t> </a:t>
                      </a:r>
                      <a:r>
                        <a:rPr lang="en-US" sz="3200" b="0" kern="1200">
                          <a:solidFill>
                            <a:schemeClr val="tx1"/>
                          </a:solidFill>
                          <a:effectLst/>
                          <a:latin typeface="Times New Roman" panose="02020603050405020304" pitchFamily="18" charset="0"/>
                          <a:ea typeface="+mn-ea"/>
                          <a:cs typeface="Times New Roman" panose="02020603050405020304" pitchFamily="18" charset="0"/>
                        </a:rPr>
                        <a:t>gieo trồng </a:t>
                      </a:r>
                      <a:r>
                        <a:rPr lang="es-ES" sz="3200" b="0" kern="1200">
                          <a:solidFill>
                            <a:schemeClr val="tx1"/>
                          </a:solidFill>
                          <a:effectLst/>
                          <a:latin typeface="Times New Roman" panose="02020603050405020304" pitchFamily="18" charset="0"/>
                          <a:ea typeface="+mn-ea"/>
                          <a:cs typeface="Times New Roman" panose="02020603050405020304" pitchFamily="18" charset="0"/>
                        </a:rPr>
                        <a:t>tháng 0</a:t>
                      </a:r>
                      <a:r>
                        <a:rPr lang="vi-VN" sz="3200" b="0" kern="1200">
                          <a:solidFill>
                            <a:schemeClr val="tx1"/>
                          </a:solidFill>
                          <a:effectLst/>
                          <a:latin typeface="Times New Roman" panose="02020603050405020304" pitchFamily="18" charset="0"/>
                          <a:ea typeface="+mn-ea"/>
                          <a:cs typeface="Times New Roman" panose="02020603050405020304" pitchFamily="18" charset="0"/>
                        </a:rPr>
                        <a:t>2</a:t>
                      </a:r>
                      <a:r>
                        <a:rPr lang="es-ES" sz="3200" b="0" kern="1200">
                          <a:solidFill>
                            <a:schemeClr val="tx1"/>
                          </a:solidFill>
                          <a:effectLst/>
                          <a:latin typeface="Times New Roman" panose="02020603050405020304" pitchFamily="18" charset="0"/>
                          <a:ea typeface="+mn-ea"/>
                          <a:cs typeface="Times New Roman" panose="02020603050405020304" pitchFamily="18" charset="0"/>
                        </a:rPr>
                        <a:t> các địa phương</a:t>
                      </a: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s-ES" sz="3200" b="0" kern="1200">
                          <a:solidFill>
                            <a:schemeClr val="tx1"/>
                          </a:solidFill>
                          <a:effectLst/>
                          <a:latin typeface="Times New Roman" panose="02020603050405020304" pitchFamily="18" charset="0"/>
                          <a:ea typeface="+mn-ea"/>
                          <a:cs typeface="Times New Roman" panose="02020603050405020304" pitchFamily="18" charset="0"/>
                        </a:rPr>
                        <a:t>  (số nhập hệ thống)</a:t>
                      </a:r>
                      <a:endParaRPr lang="es-ES" sz="20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2" name="Table 1">
            <a:extLst>
              <a:ext uri="{FF2B5EF4-FFF2-40B4-BE49-F238E27FC236}">
                <a16:creationId xmlns:a16="http://schemas.microsoft.com/office/drawing/2014/main" id="{383F49E2-AC48-3F99-F898-EB1015A826E4}"/>
              </a:ext>
            </a:extLst>
          </p:cNvPr>
          <p:cNvGraphicFramePr>
            <a:graphicFrameLocks noGrp="1"/>
          </p:cNvGraphicFramePr>
          <p:nvPr>
            <p:extLst>
              <p:ext uri="{D42A27DB-BD31-4B8C-83A1-F6EECF244321}">
                <p14:modId xmlns:p14="http://schemas.microsoft.com/office/powerpoint/2010/main" val="982063909"/>
              </p:ext>
            </p:extLst>
          </p:nvPr>
        </p:nvGraphicFramePr>
        <p:xfrm>
          <a:off x="4504888" y="1286705"/>
          <a:ext cx="7625592" cy="4904368"/>
        </p:xfrm>
        <a:graphic>
          <a:graphicData uri="http://schemas.openxmlformats.org/drawingml/2006/table">
            <a:tbl>
              <a:tblPr>
                <a:tableStyleId>{5C22544A-7EE6-4342-B048-85BDC9FD1C3A}</a:tableStyleId>
              </a:tblPr>
              <a:tblGrid>
                <a:gridCol w="1870745">
                  <a:extLst>
                    <a:ext uri="{9D8B030D-6E8A-4147-A177-3AD203B41FA5}">
                      <a16:colId xmlns:a16="http://schemas.microsoft.com/office/drawing/2014/main" val="4237669198"/>
                    </a:ext>
                  </a:extLst>
                </a:gridCol>
                <a:gridCol w="1392922">
                  <a:extLst>
                    <a:ext uri="{9D8B030D-6E8A-4147-A177-3AD203B41FA5}">
                      <a16:colId xmlns:a16="http://schemas.microsoft.com/office/drawing/2014/main" val="845088542"/>
                    </a:ext>
                  </a:extLst>
                </a:gridCol>
                <a:gridCol w="1551963">
                  <a:extLst>
                    <a:ext uri="{9D8B030D-6E8A-4147-A177-3AD203B41FA5}">
                      <a16:colId xmlns:a16="http://schemas.microsoft.com/office/drawing/2014/main" val="4280874683"/>
                    </a:ext>
                  </a:extLst>
                </a:gridCol>
                <a:gridCol w="1291905">
                  <a:extLst>
                    <a:ext uri="{9D8B030D-6E8A-4147-A177-3AD203B41FA5}">
                      <a16:colId xmlns:a16="http://schemas.microsoft.com/office/drawing/2014/main" val="3354341218"/>
                    </a:ext>
                  </a:extLst>
                </a:gridCol>
                <a:gridCol w="1518057">
                  <a:extLst>
                    <a:ext uri="{9D8B030D-6E8A-4147-A177-3AD203B41FA5}">
                      <a16:colId xmlns:a16="http://schemas.microsoft.com/office/drawing/2014/main" val="1419839874"/>
                    </a:ext>
                  </a:extLst>
                </a:gridCol>
              </a:tblGrid>
              <a:tr h="350312">
                <a:tc rowSpan="2">
                  <a:txBody>
                    <a:bodyPr/>
                    <a:lstStyle/>
                    <a:p>
                      <a:pPr algn="ctr" rtl="0" fontAlgn="ctr"/>
                      <a:r>
                        <a:rPr lang="vi-VN" sz="1600" u="sng" strike="noStrike">
                          <a:solidFill>
                            <a:schemeClr val="tx1"/>
                          </a:solidFill>
                          <a:effectLst/>
                          <a:latin typeface="+mj-lt"/>
                          <a:hlinkClick r:id="rId2">
                            <a:extLst>
                              <a:ext uri="{A12FA001-AC4F-418D-AE19-62706E023703}">
                                <ahyp:hlinkClr xmlns:ahyp="http://schemas.microsoft.com/office/drawing/2018/hyperlinkcolor" val="tx"/>
                              </a:ext>
                            </a:extLst>
                          </a:hlinkClick>
                        </a:rPr>
                        <a:t>Địa phương</a:t>
                      </a:r>
                      <a:endParaRPr lang="vi-VN" sz="1600" b="0" i="0" u="sng"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4">
                  <a:txBody>
                    <a:bodyPr/>
                    <a:lstStyle/>
                    <a:p>
                      <a:pPr algn="ctr" rtl="0" fontAlgn="ctr"/>
                      <a:r>
                        <a:rPr lang="vi-VN" sz="1600" u="none" strike="noStrike">
                          <a:solidFill>
                            <a:schemeClr val="tx1"/>
                          </a:solidFill>
                          <a:effectLst/>
                          <a:latin typeface="+mj-lt"/>
                        </a:rPr>
                        <a:t>Trồng trọt</a:t>
                      </a:r>
                      <a:endParaRPr lang="vi-VN" sz="1600" b="0" i="0" u="none"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1839368032"/>
                  </a:ext>
                </a:extLst>
              </a:tr>
              <a:tr h="350312">
                <a:tc vMerge="1">
                  <a:txBody>
                    <a:bodyPr/>
                    <a:lstStyle/>
                    <a:p>
                      <a:endParaRPr lang="vi-VN"/>
                    </a:p>
                  </a:txBody>
                  <a:tcPr/>
                </a:tc>
                <a:tc>
                  <a:txBody>
                    <a:bodyPr/>
                    <a:lstStyle/>
                    <a:p>
                      <a:pPr algn="ctr" rtl="0" fontAlgn="ctr"/>
                      <a:r>
                        <a:rPr lang="vi-VN" sz="1600" u="none" strike="noStrike">
                          <a:solidFill>
                            <a:schemeClr val="tx1"/>
                          </a:solidFill>
                          <a:effectLst/>
                          <a:latin typeface="+mj-lt"/>
                        </a:rPr>
                        <a:t>Cây lúa (ha)</a:t>
                      </a:r>
                      <a:endParaRPr lang="vi-VN" sz="1600" b="0" i="0" u="none"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vi-VN" sz="1600" u="none" strike="noStrike">
                          <a:solidFill>
                            <a:schemeClr val="tx1"/>
                          </a:solidFill>
                          <a:effectLst/>
                          <a:latin typeface="+mj-lt"/>
                        </a:rPr>
                        <a:t>Cây ngô (ha)</a:t>
                      </a:r>
                      <a:endParaRPr lang="vi-VN" sz="1600" b="0" i="0" u="none"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vi-VN" sz="1600" u="none" strike="noStrike">
                          <a:solidFill>
                            <a:schemeClr val="tx1"/>
                          </a:solidFill>
                          <a:effectLst/>
                          <a:latin typeface="+mj-lt"/>
                        </a:rPr>
                        <a:t>Cây lạc (ha)</a:t>
                      </a:r>
                      <a:endParaRPr lang="vi-VN" sz="1600" b="0" i="0" u="none"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vi-VN" sz="1600" u="none" strike="noStrike">
                          <a:solidFill>
                            <a:schemeClr val="tx1"/>
                          </a:solidFill>
                          <a:effectLst/>
                          <a:latin typeface="+mj-lt"/>
                        </a:rPr>
                        <a:t>Rau các loại (ha)</a:t>
                      </a:r>
                      <a:endParaRPr lang="vi-VN" sz="1600" b="0" i="0" u="none"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71065886"/>
                  </a:ext>
                </a:extLst>
              </a:tr>
              <a:tr h="350312">
                <a:tc>
                  <a:txBody>
                    <a:bodyPr/>
                    <a:lstStyle/>
                    <a:p>
                      <a:pPr algn="ctr" rtl="0" fontAlgn="ctr"/>
                      <a:r>
                        <a:rPr lang="vi-VN" sz="1600" b="1" u="none" strike="noStrike">
                          <a:solidFill>
                            <a:schemeClr val="tx1"/>
                          </a:solidFill>
                          <a:effectLst/>
                          <a:latin typeface="+mj-lt"/>
                        </a:rPr>
                        <a:t>TỔNG CỘNG</a:t>
                      </a:r>
                      <a:endParaRPr lang="vi-VN" sz="1600" b="1" i="0" u="none"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vi-VN" sz="1600" b="1" u="none" strike="noStrike">
                          <a:solidFill>
                            <a:schemeClr val="tx1"/>
                          </a:solidFill>
                          <a:effectLst/>
                          <a:latin typeface="+mj-lt"/>
                        </a:rPr>
                        <a:t>46.756,60</a:t>
                      </a:r>
                      <a:endParaRPr lang="vi-VN" sz="1600" b="1" i="0" u="none"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vi-VN" sz="1600" b="1" u="none" strike="noStrike">
                          <a:solidFill>
                            <a:schemeClr val="tx1"/>
                          </a:solidFill>
                          <a:effectLst/>
                          <a:latin typeface="+mj-lt"/>
                        </a:rPr>
                        <a:t>2.357,10</a:t>
                      </a:r>
                      <a:endParaRPr lang="vi-VN" sz="1600" b="1" i="0" u="none"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vi-VN" sz="1600" b="1" u="none" strike="noStrike">
                          <a:solidFill>
                            <a:schemeClr val="tx1"/>
                          </a:solidFill>
                          <a:effectLst/>
                          <a:latin typeface="+mj-lt"/>
                        </a:rPr>
                        <a:t>8.617,50</a:t>
                      </a:r>
                      <a:endParaRPr lang="vi-VN" sz="1600" b="1" i="0" u="none"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vi-VN" sz="1600" b="1" u="none" strike="noStrike">
                          <a:solidFill>
                            <a:schemeClr val="tx1"/>
                          </a:solidFill>
                          <a:effectLst/>
                          <a:latin typeface="+mj-lt"/>
                        </a:rPr>
                        <a:t>5.719,70</a:t>
                      </a:r>
                      <a:endParaRPr lang="vi-VN" sz="1600" b="1" i="0" u="none"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2485249"/>
                  </a:ext>
                </a:extLst>
              </a:tr>
              <a:tr h="350312">
                <a:tc>
                  <a:txBody>
                    <a:bodyPr/>
                    <a:lstStyle/>
                    <a:p>
                      <a:pPr algn="l" rtl="0" fontAlgn="ctr"/>
                      <a:r>
                        <a:rPr lang="vi-VN" sz="1600" u="none" strike="noStrike">
                          <a:solidFill>
                            <a:schemeClr val="tx1"/>
                          </a:solidFill>
                          <a:effectLst/>
                          <a:latin typeface="+mj-lt"/>
                          <a:hlinkClick r:id="rId3">
                            <a:extLst>
                              <a:ext uri="{A12FA001-AC4F-418D-AE19-62706E023703}">
                                <ahyp:hlinkClr xmlns:ahyp="http://schemas.microsoft.com/office/drawing/2018/hyperlinkcolor" val="tx"/>
                              </a:ext>
                            </a:extLst>
                          </a:hlinkClick>
                        </a:rPr>
                        <a:t>Thành phố Quy Nhơn</a:t>
                      </a:r>
                      <a:endParaRPr lang="vi-VN" sz="1600" b="0" i="0" u="none"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964</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15</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17</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177</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8389227"/>
                  </a:ext>
                </a:extLst>
              </a:tr>
              <a:tr h="350312">
                <a:tc>
                  <a:txBody>
                    <a:bodyPr/>
                    <a:lstStyle/>
                    <a:p>
                      <a:pPr algn="l" rtl="0" fontAlgn="b"/>
                      <a:r>
                        <a:rPr lang="vi-VN" sz="1600" u="none" strike="noStrike">
                          <a:solidFill>
                            <a:schemeClr val="tx1"/>
                          </a:solidFill>
                          <a:effectLst/>
                          <a:latin typeface="+mj-lt"/>
                          <a:hlinkClick r:id="rId4">
                            <a:extLst>
                              <a:ext uri="{A12FA001-AC4F-418D-AE19-62706E023703}">
                                <ahyp:hlinkClr xmlns:ahyp="http://schemas.microsoft.com/office/drawing/2018/hyperlinkcolor" val="tx"/>
                              </a:ext>
                            </a:extLst>
                          </a:hlinkClick>
                        </a:rPr>
                        <a:t>Thị xã An Nhơn</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6.620,60</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152,6</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420,5</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425</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17044670"/>
                  </a:ext>
                </a:extLst>
              </a:tr>
              <a:tr h="350312">
                <a:tc>
                  <a:txBody>
                    <a:bodyPr/>
                    <a:lstStyle/>
                    <a:p>
                      <a:pPr algn="l" rtl="0" fontAlgn="b"/>
                      <a:r>
                        <a:rPr lang="vi-VN" sz="1600" u="none" strike="noStrike">
                          <a:solidFill>
                            <a:schemeClr val="tx1"/>
                          </a:solidFill>
                          <a:effectLst/>
                          <a:latin typeface="+mj-lt"/>
                          <a:hlinkClick r:id="rId5">
                            <a:extLst>
                              <a:ext uri="{A12FA001-AC4F-418D-AE19-62706E023703}">
                                <ahyp:hlinkClr xmlns:ahyp="http://schemas.microsoft.com/office/drawing/2018/hyperlinkcolor" val="tx"/>
                              </a:ext>
                            </a:extLst>
                          </a:hlinkClick>
                        </a:rPr>
                        <a:t>Thị xã Hoài Nhơn</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5.442</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448</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80,5</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437</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4530624"/>
                  </a:ext>
                </a:extLst>
              </a:tr>
              <a:tr h="350312">
                <a:tc>
                  <a:txBody>
                    <a:bodyPr/>
                    <a:lstStyle/>
                    <a:p>
                      <a:pPr algn="l" rtl="0" fontAlgn="b"/>
                      <a:r>
                        <a:rPr lang="vi-VN" sz="1600" u="none" strike="noStrike">
                          <a:solidFill>
                            <a:schemeClr val="tx1"/>
                          </a:solidFill>
                          <a:effectLst/>
                          <a:latin typeface="+mj-lt"/>
                          <a:hlinkClick r:id="rId6">
                            <a:extLst>
                              <a:ext uri="{A12FA001-AC4F-418D-AE19-62706E023703}">
                                <ahyp:hlinkClr xmlns:ahyp="http://schemas.microsoft.com/office/drawing/2018/hyperlinkcolor" val="tx"/>
                              </a:ext>
                            </a:extLst>
                          </a:hlinkClick>
                        </a:rPr>
                        <a:t>Huyện Tuy Phước</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7.403</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198</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204</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716,6</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96490134"/>
                  </a:ext>
                </a:extLst>
              </a:tr>
              <a:tr h="350312">
                <a:tc>
                  <a:txBody>
                    <a:bodyPr/>
                    <a:lstStyle/>
                    <a:p>
                      <a:pPr algn="l" rtl="0" fontAlgn="b"/>
                      <a:r>
                        <a:rPr lang="vi-VN" sz="1600" u="none" strike="noStrike">
                          <a:solidFill>
                            <a:schemeClr val="tx1"/>
                          </a:solidFill>
                          <a:effectLst/>
                          <a:latin typeface="+mj-lt"/>
                          <a:hlinkClick r:id="rId7">
                            <a:extLst>
                              <a:ext uri="{A12FA001-AC4F-418D-AE19-62706E023703}">
                                <ahyp:hlinkClr xmlns:ahyp="http://schemas.microsoft.com/office/drawing/2018/hyperlinkcolor" val="tx"/>
                              </a:ext>
                            </a:extLst>
                          </a:hlinkClick>
                        </a:rPr>
                        <a:t>Huyện Phù Cát</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6.948</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69</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4.078</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1023</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45810846"/>
                  </a:ext>
                </a:extLst>
              </a:tr>
              <a:tr h="350312">
                <a:tc>
                  <a:txBody>
                    <a:bodyPr/>
                    <a:lstStyle/>
                    <a:p>
                      <a:pPr algn="l" rtl="0" fontAlgn="b"/>
                      <a:r>
                        <a:rPr lang="vi-VN" sz="1600" u="none" strike="noStrike">
                          <a:solidFill>
                            <a:schemeClr val="tx1"/>
                          </a:solidFill>
                          <a:effectLst/>
                          <a:latin typeface="+mj-lt"/>
                          <a:hlinkClick r:id="rId8">
                            <a:extLst>
                              <a:ext uri="{A12FA001-AC4F-418D-AE19-62706E023703}">
                                <ahyp:hlinkClr xmlns:ahyp="http://schemas.microsoft.com/office/drawing/2018/hyperlinkcolor" val="tx"/>
                              </a:ext>
                            </a:extLst>
                          </a:hlinkClick>
                        </a:rPr>
                        <a:t>Huyện Phù Mỹ</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7.038,00</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542</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1.760</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1.450</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0491673"/>
                  </a:ext>
                </a:extLst>
              </a:tr>
              <a:tr h="350312">
                <a:tc>
                  <a:txBody>
                    <a:bodyPr/>
                    <a:lstStyle/>
                    <a:p>
                      <a:pPr algn="l" rtl="0" fontAlgn="b"/>
                      <a:r>
                        <a:rPr lang="vi-VN" sz="1600" u="none" strike="noStrike">
                          <a:solidFill>
                            <a:schemeClr val="tx1"/>
                          </a:solidFill>
                          <a:effectLst/>
                          <a:latin typeface="+mj-lt"/>
                          <a:hlinkClick r:id="rId9">
                            <a:extLst>
                              <a:ext uri="{A12FA001-AC4F-418D-AE19-62706E023703}">
                                <ahyp:hlinkClr xmlns:ahyp="http://schemas.microsoft.com/office/drawing/2018/hyperlinkcolor" val="tx"/>
                              </a:ext>
                            </a:extLst>
                          </a:hlinkClick>
                        </a:rPr>
                        <a:t>Huyện Tây Sơn</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5.215,00</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220</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1.799</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743</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78889755"/>
                  </a:ext>
                </a:extLst>
              </a:tr>
              <a:tr h="350312">
                <a:tc>
                  <a:txBody>
                    <a:bodyPr/>
                    <a:lstStyle/>
                    <a:p>
                      <a:pPr algn="l" rtl="0" fontAlgn="b"/>
                      <a:r>
                        <a:rPr lang="vi-VN" sz="1600" u="none" strike="noStrike">
                          <a:solidFill>
                            <a:schemeClr val="tx1"/>
                          </a:solidFill>
                          <a:effectLst/>
                          <a:latin typeface="+mj-lt"/>
                          <a:hlinkClick r:id="rId10">
                            <a:extLst>
                              <a:ext uri="{A12FA001-AC4F-418D-AE19-62706E023703}">
                                <ahyp:hlinkClr xmlns:ahyp="http://schemas.microsoft.com/office/drawing/2018/hyperlinkcolor" val="tx"/>
                              </a:ext>
                            </a:extLst>
                          </a:hlinkClick>
                        </a:rPr>
                        <a:t>Huyện Hoài Ân</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4.100</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600</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77</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360</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83528250"/>
                  </a:ext>
                </a:extLst>
              </a:tr>
              <a:tr h="350312">
                <a:tc>
                  <a:txBody>
                    <a:bodyPr/>
                    <a:lstStyle/>
                    <a:p>
                      <a:pPr algn="l" rtl="0" fontAlgn="b"/>
                      <a:r>
                        <a:rPr lang="vi-VN" sz="1600" u="none" strike="noStrike">
                          <a:solidFill>
                            <a:schemeClr val="tx1"/>
                          </a:solidFill>
                          <a:effectLst/>
                          <a:latin typeface="+mj-lt"/>
                          <a:hlinkClick r:id="rId11">
                            <a:extLst>
                              <a:ext uri="{A12FA001-AC4F-418D-AE19-62706E023703}">
                                <ahyp:hlinkClr xmlns:ahyp="http://schemas.microsoft.com/office/drawing/2018/hyperlinkcolor" val="tx"/>
                              </a:ext>
                            </a:extLst>
                          </a:hlinkClick>
                        </a:rPr>
                        <a:t>Huyện An Lão</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1.103</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76</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41</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30,5</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87622770"/>
                  </a:ext>
                </a:extLst>
              </a:tr>
              <a:tr h="350312">
                <a:tc>
                  <a:txBody>
                    <a:bodyPr/>
                    <a:lstStyle/>
                    <a:p>
                      <a:pPr algn="l" rtl="0" fontAlgn="b"/>
                      <a:r>
                        <a:rPr lang="vi-VN" sz="1600" u="none" strike="noStrike">
                          <a:solidFill>
                            <a:schemeClr val="tx1"/>
                          </a:solidFill>
                          <a:effectLst/>
                          <a:latin typeface="+mj-lt"/>
                          <a:hlinkClick r:id="rId12">
                            <a:extLst>
                              <a:ext uri="{A12FA001-AC4F-418D-AE19-62706E023703}">
                                <ahyp:hlinkClr xmlns:ahyp="http://schemas.microsoft.com/office/drawing/2018/hyperlinkcolor" val="tx"/>
                              </a:ext>
                            </a:extLst>
                          </a:hlinkClick>
                        </a:rPr>
                        <a:t>Huyện Vân Canh</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820</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5</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48</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175</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66716000"/>
                  </a:ext>
                </a:extLst>
              </a:tr>
              <a:tr h="350312">
                <a:tc>
                  <a:txBody>
                    <a:bodyPr/>
                    <a:lstStyle/>
                    <a:p>
                      <a:pPr algn="l" rtl="0" fontAlgn="b"/>
                      <a:r>
                        <a:rPr lang="vi-VN" sz="1600" u="none" strike="noStrike">
                          <a:solidFill>
                            <a:schemeClr val="tx1"/>
                          </a:solidFill>
                          <a:effectLst/>
                          <a:latin typeface="+mj-lt"/>
                          <a:hlinkClick r:id="rId13">
                            <a:extLst>
                              <a:ext uri="{A12FA001-AC4F-418D-AE19-62706E023703}">
                                <ahyp:hlinkClr xmlns:ahyp="http://schemas.microsoft.com/office/drawing/2018/hyperlinkcolor" val="tx"/>
                              </a:ext>
                            </a:extLst>
                          </a:hlinkClick>
                        </a:rPr>
                        <a:t>Huyện Vĩnh Thạnh</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1.103</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31,5</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92,5</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600" u="none" strike="noStrike">
                          <a:solidFill>
                            <a:schemeClr val="tx1"/>
                          </a:solidFill>
                          <a:effectLst/>
                          <a:latin typeface="+mj-lt"/>
                        </a:rPr>
                        <a:t>182,6</a:t>
                      </a:r>
                      <a:endParaRPr lang="vi-VN" sz="1600" b="0" i="0" u="none"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33810616"/>
                  </a:ext>
                </a:extLst>
              </a:tr>
            </a:tbl>
          </a:graphicData>
        </a:graphic>
      </p:graphicFrame>
    </p:spTree>
    <p:extLst>
      <p:ext uri="{BB962C8B-B14F-4D97-AF65-F5344CB8AC3E}">
        <p14:creationId xmlns:p14="http://schemas.microsoft.com/office/powerpoint/2010/main" val="3246394076"/>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02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FF705920-E1B4-B4D0-9EA4-A27AA5761577}"/>
              </a:ext>
            </a:extLst>
          </p:cNvPr>
          <p:cNvCxnSpPr>
            <a:cxnSpLocks/>
          </p:cNvCxnSpPr>
          <p:nvPr/>
        </p:nvCxnSpPr>
        <p:spPr>
          <a:xfrm>
            <a:off x="777362" y="524236"/>
            <a:ext cx="8450528"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1DC26C3-E6F4-C27A-8624-3A65D81B6008}"/>
              </a:ext>
            </a:extLst>
          </p:cNvPr>
          <p:cNvSpPr/>
          <p:nvPr/>
        </p:nvSpPr>
        <p:spPr>
          <a:xfrm>
            <a:off x="1119325" y="640147"/>
            <a:ext cx="4124527"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 Nông, lâm, thủy sản (tt)</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33645201"/>
              </p:ext>
            </p:extLst>
          </p:nvPr>
        </p:nvGraphicFramePr>
        <p:xfrm>
          <a:off x="546141" y="1535175"/>
          <a:ext cx="6408333" cy="1920240"/>
        </p:xfrm>
        <a:graphic>
          <a:graphicData uri="http://schemas.openxmlformats.org/drawingml/2006/table">
            <a:tbl>
              <a:tblPr firstRow="1" bandRow="1"/>
              <a:tblGrid>
                <a:gridCol w="6408333">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i="1" kern="1200">
                          <a:solidFill>
                            <a:schemeClr val="dk1"/>
                          </a:solidFill>
                          <a:effectLst/>
                          <a:latin typeface="Times New Roman" panose="02020603050405020304" pitchFamily="18" charset="0"/>
                          <a:ea typeface="+mn-ea"/>
                          <a:cs typeface="Times New Roman" panose="02020603050405020304" pitchFamily="18" charset="0"/>
                        </a:rPr>
                        <a:t> Chăn nuôi</a:t>
                      </a:r>
                      <a:r>
                        <a:rPr lang="vi-VN" sz="2400" b="0" i="1"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a:solidFill>
                            <a:schemeClr val="dk1"/>
                          </a:solidFill>
                          <a:effectLst/>
                          <a:latin typeface="Times New Roman" panose="02020603050405020304" pitchFamily="18" charset="0"/>
                          <a:ea typeface="+mn-ea"/>
                          <a:cs typeface="Times New Roman" panose="02020603050405020304" pitchFamily="18" charset="0"/>
                        </a:rPr>
                        <a:t>Tình hình dịch bệnh gia súc, gia cầm được kiểm soát chặt chẽ</a:t>
                      </a: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a:solidFill>
                            <a:schemeClr val="dk1"/>
                          </a:solidFill>
                          <a:effectLst/>
                          <a:latin typeface="Times New Roman" panose="02020603050405020304" pitchFamily="18" charset="0"/>
                          <a:ea typeface="+mn-ea"/>
                          <a:cs typeface="Times New Roman" panose="02020603050405020304" pitchFamily="18" charset="0"/>
                        </a:rPr>
                        <a:t>Công tác tái đàn được triển khai hiệu quả, tổng đàn vật nuôi tăng, đảm bảo nguồn cung thực phẩm trong Tết Nguyên đán</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9" name="Picture 8">
            <a:extLst>
              <a:ext uri="{FF2B5EF4-FFF2-40B4-BE49-F238E27FC236}">
                <a16:creationId xmlns:a16="http://schemas.microsoft.com/office/drawing/2014/main" id="{2ED6FDAE-B540-11E3-282C-E003A11FADC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95586" y="1163367"/>
            <a:ext cx="3866666" cy="2384924"/>
          </a:xfrm>
          <a:prstGeom prst="rect">
            <a:avLst/>
          </a:prstGeom>
        </p:spPr>
      </p:pic>
      <p:graphicFrame>
        <p:nvGraphicFramePr>
          <p:cNvPr id="2" name="Table 1">
            <a:extLst>
              <a:ext uri="{FF2B5EF4-FFF2-40B4-BE49-F238E27FC236}">
                <a16:creationId xmlns:a16="http://schemas.microsoft.com/office/drawing/2014/main" id="{18E06811-42F8-437B-CF82-5FBE237A0396}"/>
              </a:ext>
            </a:extLst>
          </p:cNvPr>
          <p:cNvGraphicFramePr>
            <a:graphicFrameLocks noGrp="1"/>
          </p:cNvGraphicFramePr>
          <p:nvPr>
            <p:extLst>
              <p:ext uri="{D42A27DB-BD31-4B8C-83A1-F6EECF244321}">
                <p14:modId xmlns:p14="http://schemas.microsoft.com/office/powerpoint/2010/main" val="73301540"/>
              </p:ext>
            </p:extLst>
          </p:nvPr>
        </p:nvGraphicFramePr>
        <p:xfrm>
          <a:off x="668098" y="3796304"/>
          <a:ext cx="10794152" cy="2537461"/>
        </p:xfrm>
        <a:graphic>
          <a:graphicData uri="http://schemas.openxmlformats.org/drawingml/2006/table">
            <a:tbl>
              <a:tblPr>
                <a:tableStyleId>{5C22544A-7EE6-4342-B048-85BDC9FD1C3A}</a:tableStyleId>
              </a:tblPr>
              <a:tblGrid>
                <a:gridCol w="1004691">
                  <a:extLst>
                    <a:ext uri="{9D8B030D-6E8A-4147-A177-3AD203B41FA5}">
                      <a16:colId xmlns:a16="http://schemas.microsoft.com/office/drawing/2014/main" val="100917979"/>
                    </a:ext>
                  </a:extLst>
                </a:gridCol>
                <a:gridCol w="3215013">
                  <a:extLst>
                    <a:ext uri="{9D8B030D-6E8A-4147-A177-3AD203B41FA5}">
                      <a16:colId xmlns:a16="http://schemas.microsoft.com/office/drawing/2014/main" val="1702454170"/>
                    </a:ext>
                  </a:extLst>
                </a:gridCol>
                <a:gridCol w="1158534">
                  <a:extLst>
                    <a:ext uri="{9D8B030D-6E8A-4147-A177-3AD203B41FA5}">
                      <a16:colId xmlns:a16="http://schemas.microsoft.com/office/drawing/2014/main" val="652116442"/>
                    </a:ext>
                  </a:extLst>
                </a:gridCol>
                <a:gridCol w="891664">
                  <a:extLst>
                    <a:ext uri="{9D8B030D-6E8A-4147-A177-3AD203B41FA5}">
                      <a16:colId xmlns:a16="http://schemas.microsoft.com/office/drawing/2014/main" val="485304048"/>
                    </a:ext>
                  </a:extLst>
                </a:gridCol>
                <a:gridCol w="1004691">
                  <a:extLst>
                    <a:ext uri="{9D8B030D-6E8A-4147-A177-3AD203B41FA5}">
                      <a16:colId xmlns:a16="http://schemas.microsoft.com/office/drawing/2014/main" val="2878117709"/>
                    </a:ext>
                  </a:extLst>
                </a:gridCol>
                <a:gridCol w="1007831">
                  <a:extLst>
                    <a:ext uri="{9D8B030D-6E8A-4147-A177-3AD203B41FA5}">
                      <a16:colId xmlns:a16="http://schemas.microsoft.com/office/drawing/2014/main" val="2600861311"/>
                    </a:ext>
                  </a:extLst>
                </a:gridCol>
                <a:gridCol w="967015">
                  <a:extLst>
                    <a:ext uri="{9D8B030D-6E8A-4147-A177-3AD203B41FA5}">
                      <a16:colId xmlns:a16="http://schemas.microsoft.com/office/drawing/2014/main" val="3720855900"/>
                    </a:ext>
                  </a:extLst>
                </a:gridCol>
                <a:gridCol w="803753">
                  <a:extLst>
                    <a:ext uri="{9D8B030D-6E8A-4147-A177-3AD203B41FA5}">
                      <a16:colId xmlns:a16="http://schemas.microsoft.com/office/drawing/2014/main" val="1067763550"/>
                    </a:ext>
                  </a:extLst>
                </a:gridCol>
                <a:gridCol w="740960">
                  <a:extLst>
                    <a:ext uri="{9D8B030D-6E8A-4147-A177-3AD203B41FA5}">
                      <a16:colId xmlns:a16="http://schemas.microsoft.com/office/drawing/2014/main" val="3042899871"/>
                    </a:ext>
                  </a:extLst>
                </a:gridCol>
              </a:tblGrid>
              <a:tr h="343181">
                <a:tc rowSpan="2">
                  <a:txBody>
                    <a:bodyPr/>
                    <a:lstStyle/>
                    <a:p>
                      <a:pPr algn="ctr" fontAlgn="ctr"/>
                      <a:r>
                        <a:rPr lang="vi-VN" sz="1400" u="none" strike="noStrike">
                          <a:effectLst/>
                          <a:latin typeface="+mj-lt"/>
                        </a:rPr>
                        <a:t>TT</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400" u="none" strike="noStrike">
                          <a:effectLst/>
                          <a:latin typeface="+mj-lt"/>
                        </a:rPr>
                        <a:t>Chỉ tiêu</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400" u="none" strike="noStrike">
                          <a:effectLst/>
                          <a:latin typeface="+mj-lt"/>
                        </a:rPr>
                        <a:t>Đơn vị tính</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400" u="none" strike="noStrike">
                          <a:effectLst/>
                          <a:latin typeface="+mj-lt"/>
                        </a:rPr>
                        <a:t>Kế hoạch năm báo cáo</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400" u="none" strike="noStrike">
                          <a:effectLst/>
                          <a:latin typeface="+mj-lt"/>
                        </a:rPr>
                        <a:t>Cùng kỳ năm trước</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vi-VN" sz="1400" u="none" strike="noStrike">
                          <a:effectLst/>
                          <a:latin typeface="+mj-lt"/>
                        </a:rPr>
                        <a:t>Thực hiện</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gridSpan="2">
                  <a:txBody>
                    <a:bodyPr/>
                    <a:lstStyle/>
                    <a:p>
                      <a:pPr algn="ctr" fontAlgn="ctr"/>
                      <a:r>
                        <a:rPr lang="vi-VN" sz="1400" u="none" strike="noStrike">
                          <a:effectLst/>
                          <a:latin typeface="+mj-lt"/>
                        </a:rPr>
                        <a:t>So sánh</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extLst>
                  <a:ext uri="{0D108BD9-81ED-4DB2-BD59-A6C34878D82A}">
                    <a16:rowId xmlns:a16="http://schemas.microsoft.com/office/drawing/2014/main" val="659282947"/>
                  </a:ext>
                </a:extLst>
              </a:tr>
              <a:tr h="717559">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400" u="none" strike="noStrike">
                          <a:effectLst/>
                          <a:latin typeface="+mj-lt"/>
                        </a:rPr>
                        <a:t>Kỳ báo cáo</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Lũy kế từ đầu năm</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TH/KH</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TH/CK</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11528144"/>
                  </a:ext>
                </a:extLst>
              </a:tr>
              <a:tr h="259986">
                <a:tc>
                  <a:txBody>
                    <a:bodyPr/>
                    <a:lstStyle/>
                    <a:p>
                      <a:pPr algn="ctr" fontAlgn="ctr"/>
                      <a:r>
                        <a:rPr lang="vi-VN" sz="1400" u="none" strike="noStrike">
                          <a:effectLst/>
                          <a:latin typeface="+mj-lt"/>
                        </a:rPr>
                        <a:t>1</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2</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3</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4</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5</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6</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7</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8=7/4</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9=7/5</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58906351"/>
                  </a:ext>
                </a:extLst>
              </a:tr>
              <a:tr h="243347">
                <a:tc>
                  <a:txBody>
                    <a:bodyPr/>
                    <a:lstStyle/>
                    <a:p>
                      <a:pPr algn="ctr" fontAlgn="ctr"/>
                      <a:r>
                        <a:rPr lang="vi-VN" sz="1400" u="none" strike="noStrike">
                          <a:effectLst/>
                          <a:latin typeface="+mj-lt"/>
                        </a:rPr>
                        <a:t>1</a:t>
                      </a:r>
                      <a:endParaRPr lang="vi-VN" sz="1400" b="1"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400" u="none" strike="noStrike">
                          <a:effectLst/>
                          <a:latin typeface="+mj-lt"/>
                        </a:rPr>
                        <a:t>Sản xuất nông, lâm, thủy sản</a:t>
                      </a:r>
                      <a:endParaRPr lang="vi-VN" sz="1400" b="1"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 </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 </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 </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 </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 </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 </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 </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83774203"/>
                  </a:ext>
                </a:extLst>
              </a:tr>
              <a:tr h="243347">
                <a:tc>
                  <a:txBody>
                    <a:bodyPr/>
                    <a:lstStyle/>
                    <a:p>
                      <a:pPr algn="ctr" fontAlgn="ctr"/>
                      <a:r>
                        <a:rPr lang="vi-VN" sz="1400" u="none" strike="noStrike">
                          <a:effectLst/>
                          <a:latin typeface="+mj-lt"/>
                        </a:rPr>
                        <a:t>1.2</a:t>
                      </a:r>
                      <a:endParaRPr lang="vi-VN" sz="14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400" u="none" strike="noStrike">
                          <a:effectLst/>
                          <a:latin typeface="+mj-lt"/>
                        </a:rPr>
                        <a:t>Chăn nuôi</a:t>
                      </a:r>
                      <a:endParaRPr lang="vi-VN" sz="14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 </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 </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 </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 </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 </a:t>
                      </a:r>
                      <a:endParaRPr lang="vi-VN" sz="1400" b="0" i="0"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 </a:t>
                      </a:r>
                      <a:endParaRPr lang="vi-VN" sz="14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 </a:t>
                      </a:r>
                      <a:endParaRPr lang="vi-VN" sz="1400" b="0" i="1"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78006991"/>
                  </a:ext>
                </a:extLst>
              </a:tr>
              <a:tr h="243347">
                <a:tc>
                  <a:txBody>
                    <a:bodyPr/>
                    <a:lstStyle/>
                    <a:p>
                      <a:pPr algn="ctr" fontAlgn="ctr"/>
                      <a:r>
                        <a:rPr lang="vi-VN" sz="1400" u="none" strike="noStrike">
                          <a:effectLst/>
                          <a:latin typeface="+mj-lt"/>
                        </a:rPr>
                        <a:t>-</a:t>
                      </a:r>
                      <a:endParaRPr lang="vi-VN" sz="14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400" u="none" strike="noStrike">
                          <a:effectLst/>
                          <a:latin typeface="+mj-lt"/>
                        </a:rPr>
                        <a:t>Đàn bò</a:t>
                      </a:r>
                      <a:endParaRPr lang="vi-VN" sz="14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con</a:t>
                      </a:r>
                      <a:endParaRPr lang="vi-VN" sz="14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309.000</a:t>
                      </a:r>
                      <a:endParaRPr lang="vi-VN" sz="14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297.953</a:t>
                      </a:r>
                      <a:endParaRPr lang="vi-VN" sz="14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303.768</a:t>
                      </a:r>
                      <a:endParaRPr lang="vi-VN" sz="14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303.768</a:t>
                      </a:r>
                      <a:endParaRPr lang="vi-VN" sz="14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98,3</a:t>
                      </a:r>
                      <a:endParaRPr lang="vi-VN" sz="14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2,0</a:t>
                      </a:r>
                      <a:endParaRPr lang="vi-VN" sz="1400" b="0" i="1"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624371"/>
                  </a:ext>
                </a:extLst>
              </a:tr>
              <a:tr h="243347">
                <a:tc>
                  <a:txBody>
                    <a:bodyPr/>
                    <a:lstStyle/>
                    <a:p>
                      <a:pPr algn="ctr" fontAlgn="ctr"/>
                      <a:r>
                        <a:rPr lang="vi-VN" sz="1400" u="none" strike="noStrike">
                          <a:effectLst/>
                          <a:latin typeface="+mj-lt"/>
                        </a:rPr>
                        <a:t>-</a:t>
                      </a:r>
                      <a:endParaRPr lang="vi-VN" sz="14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400" u="none" strike="noStrike">
                          <a:effectLst/>
                          <a:latin typeface="+mj-lt"/>
                        </a:rPr>
                        <a:t>Đàn heo</a:t>
                      </a:r>
                      <a:endParaRPr lang="vi-VN" sz="14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con</a:t>
                      </a:r>
                      <a:endParaRPr lang="vi-VN" sz="14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721.000</a:t>
                      </a:r>
                      <a:endParaRPr lang="vi-VN" sz="14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689.965</a:t>
                      </a:r>
                      <a:endParaRPr lang="vi-VN" sz="14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678.542</a:t>
                      </a:r>
                      <a:endParaRPr lang="vi-VN" sz="14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678.542</a:t>
                      </a:r>
                      <a:endParaRPr lang="vi-VN" sz="14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94,1</a:t>
                      </a:r>
                      <a:endParaRPr lang="vi-VN" sz="14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1,7</a:t>
                      </a:r>
                      <a:endParaRPr lang="vi-VN" sz="1400" b="0" i="1"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5631807"/>
                  </a:ext>
                </a:extLst>
              </a:tr>
              <a:tr h="243347">
                <a:tc>
                  <a:txBody>
                    <a:bodyPr/>
                    <a:lstStyle/>
                    <a:p>
                      <a:pPr algn="ctr" fontAlgn="ctr"/>
                      <a:r>
                        <a:rPr lang="vi-VN" sz="1400" u="none" strike="noStrike">
                          <a:effectLst/>
                          <a:latin typeface="+mj-lt"/>
                        </a:rPr>
                        <a:t>-</a:t>
                      </a:r>
                      <a:endParaRPr lang="vi-VN" sz="14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400" u="none" strike="noStrike">
                          <a:effectLst/>
                          <a:latin typeface="+mj-lt"/>
                        </a:rPr>
                        <a:t>Đàn gia cầm</a:t>
                      </a:r>
                      <a:endParaRPr lang="vi-VN" sz="14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con</a:t>
                      </a:r>
                      <a:endParaRPr lang="vi-VN" sz="1400" b="0" i="1" u="none" strike="noStrike">
                        <a:solidFill>
                          <a:srgbClr val="00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10.000.000</a:t>
                      </a:r>
                      <a:endParaRPr lang="vi-VN" sz="14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8.853.200</a:t>
                      </a:r>
                      <a:endParaRPr lang="vi-VN" sz="14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9.196.600</a:t>
                      </a:r>
                      <a:endParaRPr lang="vi-VN" sz="14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9.196.600</a:t>
                      </a:r>
                      <a:endParaRPr lang="vi-VN" sz="14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92,0</a:t>
                      </a:r>
                      <a:endParaRPr lang="vi-VN" sz="1400" b="0" i="0"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u="none" strike="noStrike">
                          <a:effectLst/>
                          <a:latin typeface="+mj-lt"/>
                        </a:rPr>
                        <a:t>3,9</a:t>
                      </a:r>
                      <a:endParaRPr lang="vi-VN" sz="1400" b="0" i="1" u="none" strike="noStrike">
                        <a:solidFill>
                          <a:srgbClr val="00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91712800"/>
                  </a:ext>
                </a:extLst>
              </a:tr>
            </a:tbl>
          </a:graphicData>
        </a:graphic>
      </p:graphicFrame>
    </p:spTree>
    <p:extLst>
      <p:ext uri="{BB962C8B-B14F-4D97-AF65-F5344CB8AC3E}">
        <p14:creationId xmlns:p14="http://schemas.microsoft.com/office/powerpoint/2010/main" val="537512070"/>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02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FF705920-E1B4-B4D0-9EA4-A27AA5761577}"/>
              </a:ext>
            </a:extLst>
          </p:cNvPr>
          <p:cNvCxnSpPr>
            <a:cxnSpLocks/>
          </p:cNvCxnSpPr>
          <p:nvPr/>
        </p:nvCxnSpPr>
        <p:spPr>
          <a:xfrm>
            <a:off x="777362" y="524236"/>
            <a:ext cx="8442139"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1DC26C3-E6F4-C27A-8624-3A65D81B6008}"/>
              </a:ext>
            </a:extLst>
          </p:cNvPr>
          <p:cNvSpPr/>
          <p:nvPr/>
        </p:nvSpPr>
        <p:spPr>
          <a:xfrm>
            <a:off x="535149" y="679598"/>
            <a:ext cx="365388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 Nông, lâm, thủy sản</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013297566"/>
              </p:ext>
            </p:extLst>
          </p:nvPr>
        </p:nvGraphicFramePr>
        <p:xfrm>
          <a:off x="668099" y="679598"/>
          <a:ext cx="11244268" cy="1714057"/>
        </p:xfrm>
        <a:graphic>
          <a:graphicData uri="http://schemas.openxmlformats.org/drawingml/2006/table">
            <a:tbl>
              <a:tblPr firstRow="1" bandRow="1"/>
              <a:tblGrid>
                <a:gridCol w="11244268">
                  <a:extLst>
                    <a:ext uri="{9D8B030D-6E8A-4147-A177-3AD203B41FA5}">
                      <a16:colId xmlns:a16="http://schemas.microsoft.com/office/drawing/2014/main" val="3655493598"/>
                    </a:ext>
                  </a:extLst>
                </a:gridCol>
              </a:tblGrid>
              <a:tr h="171405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 </a:t>
                      </a:r>
                      <a:r>
                        <a:rPr lang="es-ES" sz="2800" b="0" kern="1200">
                          <a:solidFill>
                            <a:schemeClr val="tx1"/>
                          </a:solidFill>
                          <a:effectLst/>
                          <a:latin typeface="Times New Roman" panose="02020603050405020304" pitchFamily="18" charset="0"/>
                          <a:ea typeface="+mn-ea"/>
                          <a:cs typeface="Times New Roman" panose="02020603050405020304" pitchFamily="18" charset="0"/>
                        </a:rPr>
                        <a:t>Tình hình thực hiện</a:t>
                      </a:r>
                      <a:r>
                        <a:rPr lang="vi-VN" sz="2800" b="0" kern="1200">
                          <a:solidFill>
                            <a:schemeClr val="tx1"/>
                          </a:solidFill>
                          <a:effectLst/>
                          <a:latin typeface="Times New Roman" panose="02020603050405020304" pitchFamily="18" charset="0"/>
                          <a:ea typeface="+mn-ea"/>
                          <a:cs typeface="Times New Roman" panose="02020603050405020304" pitchFamily="18" charset="0"/>
                        </a:rPr>
                        <a:t> </a:t>
                      </a:r>
                      <a:r>
                        <a:rPr lang="en-US" sz="2800" b="0" kern="1200">
                          <a:solidFill>
                            <a:schemeClr val="tx1"/>
                          </a:solidFill>
                          <a:effectLst/>
                          <a:latin typeface="Times New Roman" panose="02020603050405020304" pitchFamily="18" charset="0"/>
                          <a:ea typeface="+mn-ea"/>
                          <a:cs typeface="Times New Roman" panose="02020603050405020304" pitchFamily="18" charset="0"/>
                        </a:rPr>
                        <a:t>chăn nuôi</a:t>
                      </a:r>
                      <a:r>
                        <a:rPr lang="es-ES" sz="2800" b="0" kern="1200">
                          <a:solidFill>
                            <a:schemeClr val="tx1"/>
                          </a:solidFill>
                          <a:effectLst/>
                          <a:latin typeface="Times New Roman" panose="02020603050405020304" pitchFamily="18" charset="0"/>
                          <a:ea typeface="+mn-ea"/>
                          <a:cs typeface="Times New Roman" panose="02020603050405020304" pitchFamily="18" charset="0"/>
                        </a:rPr>
                        <a:t> các địa phương (số nhập hệ thống)</a:t>
                      </a:r>
                      <a:endParaRPr lang="es-ES" sz="26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2" name="Table 1">
            <a:extLst>
              <a:ext uri="{FF2B5EF4-FFF2-40B4-BE49-F238E27FC236}">
                <a16:creationId xmlns:a16="http://schemas.microsoft.com/office/drawing/2014/main" id="{818875D1-09D0-2A41-4D2F-610F8152A504}"/>
              </a:ext>
            </a:extLst>
          </p:cNvPr>
          <p:cNvGraphicFramePr>
            <a:graphicFrameLocks noGrp="1"/>
          </p:cNvGraphicFramePr>
          <p:nvPr>
            <p:extLst>
              <p:ext uri="{D42A27DB-BD31-4B8C-83A1-F6EECF244321}">
                <p14:modId xmlns:p14="http://schemas.microsoft.com/office/powerpoint/2010/main" val="713855758"/>
              </p:ext>
            </p:extLst>
          </p:nvPr>
        </p:nvGraphicFramePr>
        <p:xfrm>
          <a:off x="668099" y="2176449"/>
          <a:ext cx="10855805" cy="4157319"/>
        </p:xfrm>
        <a:graphic>
          <a:graphicData uri="http://schemas.openxmlformats.org/drawingml/2006/table">
            <a:tbl>
              <a:tblPr>
                <a:tableStyleId>{5C22544A-7EE6-4342-B048-85BDC9FD1C3A}</a:tableStyleId>
              </a:tblPr>
              <a:tblGrid>
                <a:gridCol w="1590341">
                  <a:extLst>
                    <a:ext uri="{9D8B030D-6E8A-4147-A177-3AD203B41FA5}">
                      <a16:colId xmlns:a16="http://schemas.microsoft.com/office/drawing/2014/main" val="1901742640"/>
                    </a:ext>
                  </a:extLst>
                </a:gridCol>
                <a:gridCol w="1590341">
                  <a:extLst>
                    <a:ext uri="{9D8B030D-6E8A-4147-A177-3AD203B41FA5}">
                      <a16:colId xmlns:a16="http://schemas.microsoft.com/office/drawing/2014/main" val="2285944653"/>
                    </a:ext>
                  </a:extLst>
                </a:gridCol>
                <a:gridCol w="1590341">
                  <a:extLst>
                    <a:ext uri="{9D8B030D-6E8A-4147-A177-3AD203B41FA5}">
                      <a16:colId xmlns:a16="http://schemas.microsoft.com/office/drawing/2014/main" val="1378100098"/>
                    </a:ext>
                  </a:extLst>
                </a:gridCol>
                <a:gridCol w="1590341">
                  <a:extLst>
                    <a:ext uri="{9D8B030D-6E8A-4147-A177-3AD203B41FA5}">
                      <a16:colId xmlns:a16="http://schemas.microsoft.com/office/drawing/2014/main" val="1594010448"/>
                    </a:ext>
                  </a:extLst>
                </a:gridCol>
                <a:gridCol w="1590341">
                  <a:extLst>
                    <a:ext uri="{9D8B030D-6E8A-4147-A177-3AD203B41FA5}">
                      <a16:colId xmlns:a16="http://schemas.microsoft.com/office/drawing/2014/main" val="1834282449"/>
                    </a:ext>
                  </a:extLst>
                </a:gridCol>
                <a:gridCol w="1463574">
                  <a:extLst>
                    <a:ext uri="{9D8B030D-6E8A-4147-A177-3AD203B41FA5}">
                      <a16:colId xmlns:a16="http://schemas.microsoft.com/office/drawing/2014/main" val="3506215571"/>
                    </a:ext>
                  </a:extLst>
                </a:gridCol>
                <a:gridCol w="1440526">
                  <a:extLst>
                    <a:ext uri="{9D8B030D-6E8A-4147-A177-3AD203B41FA5}">
                      <a16:colId xmlns:a16="http://schemas.microsoft.com/office/drawing/2014/main" val="4088375353"/>
                    </a:ext>
                  </a:extLst>
                </a:gridCol>
              </a:tblGrid>
              <a:tr h="243525">
                <a:tc rowSpan="4">
                  <a:txBody>
                    <a:bodyPr/>
                    <a:lstStyle/>
                    <a:p>
                      <a:pPr algn="ctr" rtl="0" fontAlgn="ctr"/>
                      <a:r>
                        <a:rPr lang="vi-VN" sz="1400" u="none" strike="noStrike">
                          <a:solidFill>
                            <a:schemeClr val="tx1"/>
                          </a:solidFill>
                          <a:effectLst/>
                          <a:latin typeface="+mj-lt"/>
                        </a:rPr>
                        <a:t>Địa phương</a:t>
                      </a:r>
                      <a:endParaRPr lang="vi-VN" sz="1400" b="0" i="0" u="none" strike="noStrike">
                        <a:solidFill>
                          <a:schemeClr val="tx1"/>
                        </a:solidFill>
                        <a:effectLst/>
                        <a:latin typeface="+mj-lt"/>
                      </a:endParaRPr>
                    </a:p>
                  </a:txBody>
                  <a:tcPr marL="8372" marR="8372" marT="8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6">
                  <a:txBody>
                    <a:bodyPr/>
                    <a:lstStyle/>
                    <a:p>
                      <a:pPr algn="ctr" rtl="0" fontAlgn="ctr"/>
                      <a:r>
                        <a:rPr lang="vi-VN" sz="1400" u="none" strike="noStrike">
                          <a:solidFill>
                            <a:schemeClr val="tx1"/>
                          </a:solidFill>
                          <a:effectLst/>
                          <a:latin typeface="+mj-lt"/>
                        </a:rPr>
                        <a:t>Chăn nuôi</a:t>
                      </a:r>
                      <a:endParaRPr lang="vi-VN" sz="1400" b="0" i="0" u="none" strike="noStrike">
                        <a:solidFill>
                          <a:schemeClr val="tx1"/>
                        </a:solidFill>
                        <a:effectLst/>
                        <a:latin typeface="+mj-lt"/>
                      </a:endParaRPr>
                    </a:p>
                  </a:txBody>
                  <a:tcPr marL="8372" marR="8372" marT="8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2164392505"/>
                  </a:ext>
                </a:extLst>
              </a:tr>
              <a:tr h="243525">
                <a:tc vMerge="1">
                  <a:txBody>
                    <a:bodyPr/>
                    <a:lstStyle/>
                    <a:p>
                      <a:endParaRPr lang="vi-VN"/>
                    </a:p>
                  </a:txBody>
                  <a:tcPr/>
                </a:tc>
                <a:tc gridSpan="3">
                  <a:txBody>
                    <a:bodyPr/>
                    <a:lstStyle/>
                    <a:p>
                      <a:pPr algn="ctr" rtl="0" fontAlgn="ctr"/>
                      <a:r>
                        <a:rPr lang="vi-VN" sz="1400" u="none" strike="noStrike">
                          <a:solidFill>
                            <a:schemeClr val="tx1"/>
                          </a:solidFill>
                          <a:effectLst/>
                          <a:latin typeface="+mj-lt"/>
                        </a:rPr>
                        <a:t>Tổng đàn</a:t>
                      </a:r>
                      <a:endParaRPr lang="vi-VN" sz="1400" b="0" i="0" u="none" strike="noStrike">
                        <a:solidFill>
                          <a:schemeClr val="tx1"/>
                        </a:solidFill>
                        <a:effectLst/>
                        <a:latin typeface="+mj-lt"/>
                      </a:endParaRPr>
                    </a:p>
                  </a:txBody>
                  <a:tcPr marL="8372" marR="8372" marT="8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rtl="0" fontAlgn="ctr"/>
                      <a:r>
                        <a:rPr lang="vi-VN" sz="1400" u="none" strike="noStrike">
                          <a:solidFill>
                            <a:schemeClr val="tx1"/>
                          </a:solidFill>
                          <a:effectLst/>
                          <a:latin typeface="+mj-lt"/>
                        </a:rPr>
                        <a:t>Thịt hơi các loại (tấn)</a:t>
                      </a:r>
                      <a:endParaRPr lang="vi-VN" sz="1400" b="0" i="0" u="none" strike="noStrike">
                        <a:solidFill>
                          <a:schemeClr val="tx1"/>
                        </a:solidFill>
                        <a:effectLst/>
                        <a:latin typeface="+mj-lt"/>
                      </a:endParaRPr>
                    </a:p>
                  </a:txBody>
                  <a:tcPr marL="8372" marR="8372" marT="8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1243079001"/>
                  </a:ext>
                </a:extLst>
              </a:tr>
              <a:tr h="234828">
                <a:tc vMerge="1">
                  <a:txBody>
                    <a:bodyPr/>
                    <a:lstStyle/>
                    <a:p>
                      <a:endParaRPr lang="vi-VN"/>
                    </a:p>
                  </a:txBody>
                  <a:tcPr/>
                </a:tc>
                <a:tc rowSpan="2">
                  <a:txBody>
                    <a:bodyPr/>
                    <a:lstStyle/>
                    <a:p>
                      <a:pPr algn="ctr" rtl="0" fontAlgn="ctr"/>
                      <a:r>
                        <a:rPr lang="vi-VN" sz="1400" u="none" strike="noStrike">
                          <a:solidFill>
                            <a:schemeClr val="tx1"/>
                          </a:solidFill>
                          <a:effectLst/>
                          <a:latin typeface="+mj-lt"/>
                        </a:rPr>
                        <a:t>Đàn bò (con)</a:t>
                      </a:r>
                      <a:endParaRPr lang="vi-VN" sz="1400" b="0" i="0" u="none" strike="noStrike">
                        <a:solidFill>
                          <a:schemeClr val="tx1"/>
                        </a:solidFill>
                        <a:effectLst/>
                        <a:latin typeface="+mj-lt"/>
                      </a:endParaRPr>
                    </a:p>
                  </a:txBody>
                  <a:tcPr marL="8372" marR="8372" marT="8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rtl="0" fontAlgn="ctr"/>
                      <a:r>
                        <a:rPr lang="vi-VN" sz="1400" u="none" strike="noStrike">
                          <a:solidFill>
                            <a:schemeClr val="tx1"/>
                          </a:solidFill>
                          <a:effectLst/>
                          <a:latin typeface="+mj-lt"/>
                        </a:rPr>
                        <a:t>Đàn heo (con)</a:t>
                      </a:r>
                      <a:endParaRPr lang="vi-VN" sz="1400" b="0" i="0" u="none" strike="noStrike">
                        <a:solidFill>
                          <a:schemeClr val="tx1"/>
                        </a:solidFill>
                        <a:effectLst/>
                        <a:latin typeface="+mj-lt"/>
                      </a:endParaRPr>
                    </a:p>
                  </a:txBody>
                  <a:tcPr marL="8372" marR="8372" marT="8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vi-VN" sz="1400" u="none" strike="noStrike">
                          <a:solidFill>
                            <a:schemeClr val="tx1"/>
                          </a:solidFill>
                          <a:effectLst/>
                          <a:latin typeface="+mj-lt"/>
                        </a:rPr>
                        <a:t>Đàn gia cầm</a:t>
                      </a:r>
                      <a:endParaRPr lang="vi-VN" sz="1400" b="0" i="0" u="none" strike="noStrike">
                        <a:solidFill>
                          <a:schemeClr val="tx1"/>
                        </a:solidFill>
                        <a:effectLst/>
                        <a:latin typeface="+mj-lt"/>
                      </a:endParaRPr>
                    </a:p>
                  </a:txBody>
                  <a:tcPr marL="8372" marR="8372" marT="8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l" rtl="0" fontAlgn="ctr"/>
                      <a:r>
                        <a:rPr lang="vi-VN" sz="1400" u="none" strike="noStrike">
                          <a:solidFill>
                            <a:schemeClr val="tx1"/>
                          </a:solidFill>
                          <a:effectLst/>
                          <a:latin typeface="+mj-lt"/>
                        </a:rPr>
                        <a:t>Thịt bò</a:t>
                      </a:r>
                      <a:endParaRPr lang="vi-VN" sz="1400" b="0" i="0" u="none" strike="noStrike">
                        <a:solidFill>
                          <a:schemeClr val="tx1"/>
                        </a:solidFill>
                        <a:effectLst/>
                        <a:latin typeface="+mj-lt"/>
                      </a:endParaRPr>
                    </a:p>
                  </a:txBody>
                  <a:tcPr marL="8372" marR="8372" marT="8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l" rtl="0" fontAlgn="ctr"/>
                      <a:r>
                        <a:rPr lang="vi-VN" sz="1400" u="none" strike="noStrike">
                          <a:solidFill>
                            <a:schemeClr val="tx1"/>
                          </a:solidFill>
                          <a:effectLst/>
                          <a:latin typeface="+mj-lt"/>
                        </a:rPr>
                        <a:t>Thịt heo</a:t>
                      </a:r>
                      <a:endParaRPr lang="vi-VN" sz="1400" b="0" i="0" u="none" strike="noStrike">
                        <a:solidFill>
                          <a:schemeClr val="tx1"/>
                        </a:solidFill>
                        <a:effectLst/>
                        <a:latin typeface="+mj-lt"/>
                      </a:endParaRPr>
                    </a:p>
                  </a:txBody>
                  <a:tcPr marL="8372" marR="8372" marT="8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l" rtl="0" fontAlgn="ctr"/>
                      <a:r>
                        <a:rPr lang="vi-VN" sz="1400" u="none" strike="noStrike">
                          <a:solidFill>
                            <a:schemeClr val="tx1"/>
                          </a:solidFill>
                          <a:effectLst/>
                          <a:latin typeface="+mj-lt"/>
                        </a:rPr>
                        <a:t>Thịt gia cầm</a:t>
                      </a:r>
                      <a:endParaRPr lang="vi-VN" sz="1400" b="0" i="0" u="none" strike="noStrike">
                        <a:solidFill>
                          <a:schemeClr val="tx1"/>
                        </a:solidFill>
                        <a:effectLst/>
                        <a:latin typeface="+mj-lt"/>
                      </a:endParaRPr>
                    </a:p>
                  </a:txBody>
                  <a:tcPr marL="8372" marR="8372" marT="8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5946372"/>
                  </a:ext>
                </a:extLst>
              </a:tr>
              <a:tr h="243525">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rtl="0" fontAlgn="ctr"/>
                      <a:r>
                        <a:rPr lang="vi-VN" sz="1400" u="none" strike="noStrike">
                          <a:solidFill>
                            <a:schemeClr val="tx1"/>
                          </a:solidFill>
                          <a:effectLst/>
                          <a:latin typeface="+mj-lt"/>
                        </a:rPr>
                        <a:t>(con)</a:t>
                      </a:r>
                      <a:endParaRPr lang="vi-VN" sz="1400" b="0" i="0" u="none" strike="noStrike">
                        <a:solidFill>
                          <a:schemeClr val="tx1"/>
                        </a:solidFill>
                        <a:effectLst/>
                        <a:latin typeface="+mj-lt"/>
                      </a:endParaRPr>
                    </a:p>
                  </a:txBody>
                  <a:tcPr marL="8372" marR="8372" marT="8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vi-VN"/>
                    </a:p>
                  </a:txBody>
                  <a:tcPr/>
                </a:tc>
                <a:tc vMerge="1">
                  <a:txBody>
                    <a:bodyPr/>
                    <a:lstStyle/>
                    <a:p>
                      <a:endParaRPr lang="vi-VN"/>
                    </a:p>
                  </a:txBody>
                  <a:tcPr/>
                </a:tc>
                <a:tc vMerge="1">
                  <a:txBody>
                    <a:bodyPr/>
                    <a:lstStyle/>
                    <a:p>
                      <a:endParaRPr lang="vi-VN"/>
                    </a:p>
                  </a:txBody>
                  <a:tcPr/>
                </a:tc>
                <a:extLst>
                  <a:ext uri="{0D108BD9-81ED-4DB2-BD59-A6C34878D82A}">
                    <a16:rowId xmlns:a16="http://schemas.microsoft.com/office/drawing/2014/main" val="1097514617"/>
                  </a:ext>
                </a:extLst>
              </a:tr>
              <a:tr h="243525">
                <a:tc>
                  <a:txBody>
                    <a:bodyPr/>
                    <a:lstStyle/>
                    <a:p>
                      <a:pPr algn="ctr" rtl="0" fontAlgn="ctr"/>
                      <a:r>
                        <a:rPr lang="vi-VN" sz="1400" b="1" u="none" strike="noStrike">
                          <a:solidFill>
                            <a:schemeClr val="tx1"/>
                          </a:solidFill>
                          <a:effectLst/>
                          <a:latin typeface="+mj-lt"/>
                        </a:rPr>
                        <a:t>TỔNG CỘNG</a:t>
                      </a:r>
                      <a:endParaRPr lang="vi-VN" sz="1400" b="1" i="0" u="none" strike="noStrike">
                        <a:solidFill>
                          <a:schemeClr val="tx1"/>
                        </a:solidFill>
                        <a:effectLst/>
                        <a:latin typeface="+mj-lt"/>
                      </a:endParaRPr>
                    </a:p>
                  </a:txBody>
                  <a:tcPr marL="8372" marR="8372" marT="8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vi-VN" sz="1400" b="1" u="none" strike="noStrike">
                          <a:solidFill>
                            <a:schemeClr val="tx1"/>
                          </a:solidFill>
                          <a:effectLst/>
                          <a:latin typeface="+mj-lt"/>
                        </a:rPr>
                        <a:t>307.244</a:t>
                      </a:r>
                      <a:endParaRPr lang="vi-VN" sz="1400" b="1" i="0" u="none" strike="noStrike">
                        <a:solidFill>
                          <a:schemeClr val="tx1"/>
                        </a:solidFill>
                        <a:effectLst/>
                        <a:latin typeface="+mj-lt"/>
                      </a:endParaRPr>
                    </a:p>
                  </a:txBody>
                  <a:tcPr marL="8372" marR="8372" marT="8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vi-VN" sz="1400" b="1" u="none" strike="noStrike">
                          <a:solidFill>
                            <a:schemeClr val="tx1"/>
                          </a:solidFill>
                          <a:effectLst/>
                          <a:latin typeface="+mj-lt"/>
                        </a:rPr>
                        <a:t>767.073</a:t>
                      </a:r>
                      <a:endParaRPr lang="vi-VN" sz="1400" b="1" i="0" u="none" strike="noStrike">
                        <a:solidFill>
                          <a:schemeClr val="tx1"/>
                        </a:solidFill>
                        <a:effectLst/>
                        <a:latin typeface="+mj-lt"/>
                      </a:endParaRPr>
                    </a:p>
                  </a:txBody>
                  <a:tcPr marL="8372" marR="8372" marT="8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vi-VN" sz="1400" b="1" u="none" strike="noStrike">
                          <a:solidFill>
                            <a:schemeClr val="tx1"/>
                          </a:solidFill>
                          <a:effectLst/>
                          <a:latin typeface="+mj-lt"/>
                        </a:rPr>
                        <a:t>9.309.094</a:t>
                      </a:r>
                      <a:endParaRPr lang="vi-VN" sz="1400" b="1" i="0" u="none" strike="noStrike">
                        <a:solidFill>
                          <a:schemeClr val="tx1"/>
                        </a:solidFill>
                        <a:effectLst/>
                        <a:latin typeface="+mj-lt"/>
                      </a:endParaRPr>
                    </a:p>
                  </a:txBody>
                  <a:tcPr marL="8372" marR="8372" marT="8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vi-VN" sz="1400" b="1" u="none" strike="noStrike">
                          <a:solidFill>
                            <a:schemeClr val="tx1"/>
                          </a:solidFill>
                          <a:effectLst/>
                          <a:latin typeface="+mj-lt"/>
                        </a:rPr>
                        <a:t>7.386</a:t>
                      </a:r>
                      <a:endParaRPr lang="vi-VN" sz="1400" b="1" i="0" u="none" strike="noStrike">
                        <a:solidFill>
                          <a:schemeClr val="tx1"/>
                        </a:solidFill>
                        <a:effectLst/>
                        <a:latin typeface="+mj-lt"/>
                      </a:endParaRPr>
                    </a:p>
                  </a:txBody>
                  <a:tcPr marL="8372" marR="8372" marT="8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vi-VN" sz="1400" b="1" u="none" strike="noStrike">
                          <a:solidFill>
                            <a:schemeClr val="tx1"/>
                          </a:solidFill>
                          <a:effectLst/>
                          <a:latin typeface="+mj-lt"/>
                        </a:rPr>
                        <a:t>27.968</a:t>
                      </a:r>
                      <a:endParaRPr lang="vi-VN" sz="1400" b="1" i="0" u="none" strike="noStrike">
                        <a:solidFill>
                          <a:schemeClr val="tx1"/>
                        </a:solidFill>
                        <a:effectLst/>
                        <a:latin typeface="+mj-lt"/>
                      </a:endParaRPr>
                    </a:p>
                  </a:txBody>
                  <a:tcPr marL="8372" marR="8372" marT="8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vi-VN" sz="1400" b="1" u="none" strike="noStrike">
                          <a:solidFill>
                            <a:schemeClr val="tx1"/>
                          </a:solidFill>
                          <a:effectLst/>
                          <a:latin typeface="+mj-lt"/>
                        </a:rPr>
                        <a:t>4.193</a:t>
                      </a:r>
                      <a:endParaRPr lang="vi-VN" sz="1400" b="1" i="0" u="none" strike="noStrike">
                        <a:solidFill>
                          <a:schemeClr val="tx1"/>
                        </a:solidFill>
                        <a:effectLst/>
                        <a:latin typeface="+mj-lt"/>
                      </a:endParaRPr>
                    </a:p>
                  </a:txBody>
                  <a:tcPr marL="8372" marR="8372" marT="8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55221914"/>
                  </a:ext>
                </a:extLst>
              </a:tr>
              <a:tr h="478352">
                <a:tc>
                  <a:txBody>
                    <a:bodyPr/>
                    <a:lstStyle/>
                    <a:p>
                      <a:pPr algn="l" rtl="0" fontAlgn="ctr"/>
                      <a:r>
                        <a:rPr lang="vi-VN" sz="1400" u="none" strike="noStrike">
                          <a:solidFill>
                            <a:schemeClr val="tx1"/>
                          </a:solidFill>
                          <a:effectLst/>
                          <a:latin typeface="+mj-lt"/>
                        </a:rPr>
                        <a:t>Thành phố Quy Nhơn</a:t>
                      </a:r>
                      <a:endParaRPr lang="vi-VN" sz="1400" b="0" i="0" u="none" strike="noStrike">
                        <a:solidFill>
                          <a:schemeClr val="tx1"/>
                        </a:solidFill>
                        <a:effectLst/>
                        <a:latin typeface="+mj-lt"/>
                      </a:endParaRPr>
                    </a:p>
                  </a:txBody>
                  <a:tcPr marL="8372" marR="8372" marT="8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4.261</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5.815</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06.80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1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987</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58</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97954042"/>
                  </a:ext>
                </a:extLst>
              </a:tr>
              <a:tr h="243525">
                <a:tc>
                  <a:txBody>
                    <a:bodyPr/>
                    <a:lstStyle/>
                    <a:p>
                      <a:pPr algn="l" rtl="0" fontAlgn="b"/>
                      <a:r>
                        <a:rPr lang="vi-VN" sz="1400" u="none" strike="noStrike">
                          <a:solidFill>
                            <a:schemeClr val="tx1"/>
                          </a:solidFill>
                          <a:effectLst/>
                          <a:latin typeface="+mj-lt"/>
                        </a:rPr>
                        <a:t>Thị xã An Nhơn</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33.625</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85.259</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318.612</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718</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763</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51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8691964"/>
                  </a:ext>
                </a:extLst>
              </a:tr>
              <a:tr h="243525">
                <a:tc>
                  <a:txBody>
                    <a:bodyPr/>
                    <a:lstStyle/>
                    <a:p>
                      <a:pPr algn="l" rtl="0" fontAlgn="b"/>
                      <a:r>
                        <a:rPr lang="vi-VN" sz="1400" u="none" strike="noStrike">
                          <a:solidFill>
                            <a:schemeClr val="tx1"/>
                          </a:solidFill>
                          <a:effectLst/>
                          <a:latin typeface="+mj-lt"/>
                        </a:rPr>
                        <a:t>Thị xã Hoài Nhơn</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30.20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34.00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958.50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507</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3.145,0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695</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71271493"/>
                  </a:ext>
                </a:extLst>
              </a:tr>
              <a:tr h="243525">
                <a:tc>
                  <a:txBody>
                    <a:bodyPr/>
                    <a:lstStyle/>
                    <a:p>
                      <a:pPr algn="l" rtl="0" fontAlgn="b"/>
                      <a:r>
                        <a:rPr lang="vi-VN" sz="1400" u="none" strike="noStrike">
                          <a:solidFill>
                            <a:schemeClr val="tx1"/>
                          </a:solidFill>
                          <a:effectLst/>
                          <a:latin typeface="+mj-lt"/>
                        </a:rPr>
                        <a:t>Huyện Tuy Phước</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2.276</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35.378</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781.80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95</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038</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83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30540339"/>
                  </a:ext>
                </a:extLst>
              </a:tr>
              <a:tr h="243525">
                <a:tc>
                  <a:txBody>
                    <a:bodyPr/>
                    <a:lstStyle/>
                    <a:p>
                      <a:pPr algn="l" rtl="0" fontAlgn="b"/>
                      <a:r>
                        <a:rPr lang="vi-VN" sz="1400" u="none" strike="noStrike">
                          <a:solidFill>
                            <a:schemeClr val="tx1"/>
                          </a:solidFill>
                          <a:effectLst/>
                          <a:latin typeface="+mj-lt"/>
                        </a:rPr>
                        <a:t>Huyện Phù Cát</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53.257</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67.346</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2.096.00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925</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3513</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887</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47649455"/>
                  </a:ext>
                </a:extLst>
              </a:tr>
              <a:tr h="243525">
                <a:tc>
                  <a:txBody>
                    <a:bodyPr/>
                    <a:lstStyle/>
                    <a:p>
                      <a:pPr algn="l" rtl="0" fontAlgn="b"/>
                      <a:r>
                        <a:rPr lang="vi-VN" sz="1400" u="none" strike="noStrike">
                          <a:solidFill>
                            <a:schemeClr val="tx1"/>
                          </a:solidFill>
                          <a:effectLst/>
                          <a:latin typeface="+mj-lt"/>
                        </a:rPr>
                        <a:t>Huyện Phù Mỹ</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57.974</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57.285</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191.882</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454</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2.199,0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576</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79006252"/>
                  </a:ext>
                </a:extLst>
              </a:tr>
              <a:tr h="243525">
                <a:tc>
                  <a:txBody>
                    <a:bodyPr/>
                    <a:lstStyle/>
                    <a:p>
                      <a:pPr algn="l" rtl="0" fontAlgn="b"/>
                      <a:r>
                        <a:rPr lang="vi-VN" sz="1400" u="none" strike="noStrike">
                          <a:solidFill>
                            <a:schemeClr val="tx1"/>
                          </a:solidFill>
                          <a:effectLst/>
                          <a:latin typeface="+mj-lt"/>
                        </a:rPr>
                        <a:t>Huyện Tây Sơn</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48.982</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58.996</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782.30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352</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2.174</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42</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73459160"/>
                  </a:ext>
                </a:extLst>
              </a:tr>
              <a:tr h="243525">
                <a:tc>
                  <a:txBody>
                    <a:bodyPr/>
                    <a:lstStyle/>
                    <a:p>
                      <a:pPr algn="l" rtl="0" fontAlgn="b"/>
                      <a:r>
                        <a:rPr lang="vi-VN" sz="1400" u="none" strike="noStrike">
                          <a:solidFill>
                            <a:schemeClr val="tx1"/>
                          </a:solidFill>
                          <a:effectLst/>
                          <a:latin typeface="+mj-lt"/>
                        </a:rPr>
                        <a:t>Huyện Hoài Ân</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25.50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259.00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800.00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205</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7.52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23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23283849"/>
                  </a:ext>
                </a:extLst>
              </a:tr>
              <a:tr h="278314">
                <a:tc>
                  <a:txBody>
                    <a:bodyPr/>
                    <a:lstStyle/>
                    <a:p>
                      <a:pPr algn="l" rtl="0" fontAlgn="b"/>
                      <a:r>
                        <a:rPr lang="vi-VN" sz="1400" u="none" strike="noStrike">
                          <a:solidFill>
                            <a:schemeClr val="tx1"/>
                          </a:solidFill>
                          <a:effectLst/>
                          <a:latin typeface="+mj-lt"/>
                        </a:rPr>
                        <a:t>Huyện An Lão</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8.884</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27.915</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82.70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600" u="none" strike="noStrike">
                          <a:solidFill>
                            <a:schemeClr val="tx1"/>
                          </a:solidFill>
                          <a:effectLst/>
                          <a:latin typeface="+mj-lt"/>
                        </a:rPr>
                        <a:t>1047</a:t>
                      </a:r>
                      <a:endParaRPr lang="vi-VN" sz="16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600" u="none" strike="noStrike">
                          <a:solidFill>
                            <a:schemeClr val="tx1"/>
                          </a:solidFill>
                          <a:effectLst/>
                          <a:latin typeface="+mj-lt"/>
                        </a:rPr>
                        <a:t>3426</a:t>
                      </a:r>
                      <a:endParaRPr lang="vi-VN" sz="16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600" u="none" strike="noStrike">
                          <a:solidFill>
                            <a:schemeClr val="tx1"/>
                          </a:solidFill>
                          <a:effectLst/>
                          <a:latin typeface="+mj-lt"/>
                        </a:rPr>
                        <a:t>168</a:t>
                      </a:r>
                      <a:endParaRPr lang="vi-VN" sz="16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12109214"/>
                  </a:ext>
                </a:extLst>
              </a:tr>
              <a:tr h="243525">
                <a:tc>
                  <a:txBody>
                    <a:bodyPr/>
                    <a:lstStyle/>
                    <a:p>
                      <a:pPr algn="l" rtl="0" fontAlgn="b"/>
                      <a:r>
                        <a:rPr lang="vi-VN" sz="1400" u="none" strike="noStrike">
                          <a:solidFill>
                            <a:schemeClr val="tx1"/>
                          </a:solidFill>
                          <a:effectLst/>
                          <a:latin typeface="+mj-lt"/>
                        </a:rPr>
                        <a:t>Huyện Vân Canh</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4.218</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7.26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73.00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24</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80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9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64971402"/>
                  </a:ext>
                </a:extLst>
              </a:tr>
              <a:tr h="243525">
                <a:tc>
                  <a:txBody>
                    <a:bodyPr/>
                    <a:lstStyle/>
                    <a:p>
                      <a:pPr algn="l" rtl="0" fontAlgn="b"/>
                      <a:r>
                        <a:rPr lang="vi-VN" sz="1400" u="none" strike="noStrike">
                          <a:solidFill>
                            <a:schemeClr val="tx1"/>
                          </a:solidFill>
                          <a:effectLst/>
                          <a:latin typeface="+mj-lt"/>
                        </a:rPr>
                        <a:t>Huyện Vĩnh Thạnh</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8.067</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8.819</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17.500</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749</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1403</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u="none" strike="noStrike">
                          <a:solidFill>
                            <a:schemeClr val="tx1"/>
                          </a:solidFill>
                          <a:effectLst/>
                          <a:latin typeface="+mj-lt"/>
                        </a:rPr>
                        <a:t>7</a:t>
                      </a:r>
                      <a:endParaRPr lang="vi-VN" sz="1400" b="0" i="0" u="none" strike="noStrike">
                        <a:solidFill>
                          <a:schemeClr val="tx1"/>
                        </a:solidFill>
                        <a:effectLst/>
                        <a:latin typeface="+mj-lt"/>
                      </a:endParaRPr>
                    </a:p>
                  </a:txBody>
                  <a:tcPr marL="8372" marR="8372" marT="837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0839969"/>
                  </a:ext>
                </a:extLst>
              </a:tr>
            </a:tbl>
          </a:graphicData>
        </a:graphic>
      </p:graphicFrame>
    </p:spTree>
    <p:extLst>
      <p:ext uri="{BB962C8B-B14F-4D97-AF65-F5344CB8AC3E}">
        <p14:creationId xmlns:p14="http://schemas.microsoft.com/office/powerpoint/2010/main" val="385818067"/>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02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FF705920-E1B4-B4D0-9EA4-A27AA5761577}"/>
              </a:ext>
            </a:extLst>
          </p:cNvPr>
          <p:cNvCxnSpPr>
            <a:cxnSpLocks/>
          </p:cNvCxnSpPr>
          <p:nvPr/>
        </p:nvCxnSpPr>
        <p:spPr>
          <a:xfrm>
            <a:off x="777362" y="524236"/>
            <a:ext cx="8400194"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1DC26C3-E6F4-C27A-8624-3A65D81B6008}"/>
              </a:ext>
            </a:extLst>
          </p:cNvPr>
          <p:cNvSpPr/>
          <p:nvPr/>
        </p:nvSpPr>
        <p:spPr>
          <a:xfrm>
            <a:off x="1119325" y="640147"/>
            <a:ext cx="365388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 Nông, lâm, thủy sản</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nvGraphicFramePr>
        <p:xfrm>
          <a:off x="556470" y="1691404"/>
          <a:ext cx="6758555" cy="3535680"/>
        </p:xfrm>
        <a:graphic>
          <a:graphicData uri="http://schemas.openxmlformats.org/drawingml/2006/table">
            <a:tbl>
              <a:tblPr firstRow="1" bandRow="1"/>
              <a:tblGrid>
                <a:gridCol w="6758555">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i="1" kern="1200" noProof="0">
                          <a:solidFill>
                            <a:schemeClr val="dk1"/>
                          </a:solidFill>
                          <a:effectLst/>
                          <a:latin typeface="Times New Roman" panose="02020603050405020304" pitchFamily="18" charset="0"/>
                          <a:ea typeface="+mn-ea"/>
                          <a:cs typeface="Times New Roman" panose="02020603050405020304" pitchFamily="18" charset="0"/>
                        </a:rPr>
                        <a:t>Lâm nghiệp</a:t>
                      </a:r>
                      <a:r>
                        <a:rPr lang="en-US" sz="2400" b="0" kern="1200" noProof="0">
                          <a:solidFill>
                            <a:schemeClr val="dk1"/>
                          </a:solidFill>
                          <a:effectLst/>
                          <a:latin typeface="Times New Roman" panose="02020603050405020304" pitchFamily="18" charset="0"/>
                          <a:ea typeface="+mn-ea"/>
                          <a:cs typeface="Times New Roman" panose="02020603050405020304" pitchFamily="18" charset="0"/>
                        </a:rPr>
                        <a:t>:</a:t>
                      </a:r>
                      <a:r>
                        <a:rPr lang="vi-VN" sz="2400" b="0" kern="1200" noProof="0">
                          <a:solidFill>
                            <a:schemeClr val="dk1"/>
                          </a:solidFill>
                          <a:effectLst/>
                          <a:latin typeface="Times New Roman" panose="02020603050405020304" pitchFamily="18" charset="0"/>
                          <a:ea typeface="+mn-ea"/>
                          <a:cs typeface="Times New Roman" panose="02020603050405020304" pitchFamily="18" charset="0"/>
                        </a:rPr>
                        <a:t> </a:t>
                      </a:r>
                      <a:r>
                        <a:rPr lang="es-ES" sz="2400" b="0" kern="1200">
                          <a:solidFill>
                            <a:schemeClr val="dk1"/>
                          </a:solidFill>
                          <a:effectLst/>
                          <a:latin typeface="Times New Roman" panose="02020603050405020304" pitchFamily="18" charset="0"/>
                          <a:ea typeface="+mn-ea"/>
                          <a:cs typeface="Times New Roman" panose="02020603050405020304" pitchFamily="18" charset="0"/>
                        </a:rPr>
                        <a:t>Công tác tuần tra, kiểm soát</a:t>
                      </a:r>
                      <a:r>
                        <a:rPr lang="vi-VN" sz="2400" b="0" kern="1200">
                          <a:solidFill>
                            <a:schemeClr val="dk1"/>
                          </a:solidFill>
                          <a:effectLst/>
                          <a:latin typeface="Times New Roman" panose="02020603050405020304" pitchFamily="18" charset="0"/>
                          <a:ea typeface="+mn-ea"/>
                          <a:cs typeface="Times New Roman" panose="02020603050405020304" pitchFamily="18" charset="0"/>
                        </a:rPr>
                        <a:t>,</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bảo vệ</a:t>
                      </a:r>
                      <a:r>
                        <a:rPr lang="vi-VN" sz="2400" b="0" kern="1200">
                          <a:solidFill>
                            <a:schemeClr val="dk1"/>
                          </a:solidFill>
                          <a:effectLst/>
                          <a:latin typeface="Times New Roman" panose="02020603050405020304" pitchFamily="18" charset="0"/>
                          <a:ea typeface="+mn-ea"/>
                          <a:cs typeface="Times New Roman" panose="02020603050405020304" pitchFamily="18" charset="0"/>
                        </a:rPr>
                        <a:t>,</a:t>
                      </a:r>
                      <a:r>
                        <a:rPr lang="it-IT" sz="2400" b="0" kern="1200">
                          <a:solidFill>
                            <a:schemeClr val="dk1"/>
                          </a:solidFill>
                          <a:effectLst/>
                          <a:latin typeface="Times New Roman" panose="02020603050405020304" pitchFamily="18" charset="0"/>
                          <a:ea typeface="+mn-ea"/>
                          <a:cs typeface="Times New Roman" panose="02020603050405020304" pitchFamily="18" charset="0"/>
                        </a:rPr>
                        <a:t> phòng chống cháy rừng </a:t>
                      </a:r>
                      <a:r>
                        <a:rPr lang="es-ES" sz="2400" b="0" kern="1200">
                          <a:solidFill>
                            <a:schemeClr val="dk1"/>
                          </a:solidFill>
                          <a:effectLst/>
                          <a:latin typeface="Times New Roman" panose="02020603050405020304" pitchFamily="18" charset="0"/>
                          <a:ea typeface="+mn-ea"/>
                          <a:cs typeface="Times New Roman" panose="02020603050405020304" pitchFamily="18" charset="0"/>
                        </a:rPr>
                        <a:t>được duy trì thường xuyên. Diện tích rừng đang thực hiện khoán bảo vệ là 122.156 ha. </a:t>
                      </a:r>
                      <a:r>
                        <a:rPr lang="vi-VN" sz="2400" b="0" kern="1200">
                          <a:solidFill>
                            <a:schemeClr val="dk1"/>
                          </a:solidFill>
                          <a:effectLst/>
                          <a:latin typeface="Times New Roman" panose="02020603050405020304" pitchFamily="18" charset="0"/>
                          <a:ea typeface="+mn-ea"/>
                          <a:cs typeface="Times New Roman" panose="02020603050405020304" pitchFamily="18" charset="0"/>
                        </a:rPr>
                        <a:t>Trong tháng, không xảy ra vụ cháy nào.</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i="1" kern="1200">
                          <a:solidFill>
                            <a:schemeClr val="dk1"/>
                          </a:solidFill>
                          <a:effectLst/>
                          <a:latin typeface="Times New Roman" panose="02020603050405020304" pitchFamily="18" charset="0"/>
                          <a:ea typeface="+mn-ea"/>
                          <a:cs typeface="Times New Roman" panose="02020603050405020304" pitchFamily="18" charset="0"/>
                        </a:rPr>
                        <a:t>Thủy sản: </a:t>
                      </a:r>
                      <a:r>
                        <a:rPr lang="es-ES" sz="2400" b="0" kern="1200">
                          <a:solidFill>
                            <a:schemeClr val="dk1"/>
                          </a:solidFill>
                          <a:effectLst/>
                          <a:latin typeface="Times New Roman" panose="02020603050405020304" pitchFamily="18" charset="0"/>
                          <a:ea typeface="+mn-ea"/>
                          <a:cs typeface="Times New Roman" panose="02020603050405020304" pitchFamily="18" charset="0"/>
                        </a:rPr>
                        <a:t>Sản lượng khai thác thủy sản </a:t>
                      </a:r>
                      <a:r>
                        <a:rPr lang="vi-VN" sz="2400" b="0" kern="1200">
                          <a:solidFill>
                            <a:schemeClr val="dk1"/>
                          </a:solidFill>
                          <a:effectLst/>
                          <a:latin typeface="Times New Roman" panose="02020603050405020304" pitchFamily="18" charset="0"/>
                          <a:ea typeface="+mn-ea"/>
                          <a:cs typeface="Times New Roman" panose="02020603050405020304" pitchFamily="18" charset="0"/>
                        </a:rPr>
                        <a:t>02 tháng đạt 34.647,6</a:t>
                      </a:r>
                      <a:r>
                        <a:rPr lang="es-ES" sz="2400" b="0" kern="1200">
                          <a:solidFill>
                            <a:schemeClr val="dk1"/>
                          </a:solidFill>
                          <a:effectLst/>
                          <a:latin typeface="Times New Roman" panose="02020603050405020304" pitchFamily="18" charset="0"/>
                          <a:ea typeface="+mn-ea"/>
                          <a:cs typeface="Times New Roman" panose="02020603050405020304" pitchFamily="18" charset="0"/>
                        </a:rPr>
                        <a:t> tấn, tăng 2,</a:t>
                      </a:r>
                      <a:r>
                        <a:rPr lang="vi-VN" sz="2400" b="0" kern="1200">
                          <a:solidFill>
                            <a:schemeClr val="dk1"/>
                          </a:solidFill>
                          <a:effectLst/>
                          <a:latin typeface="Times New Roman" panose="02020603050405020304" pitchFamily="18" charset="0"/>
                          <a:ea typeface="+mn-ea"/>
                          <a:cs typeface="Times New Roman" panose="02020603050405020304" pitchFamily="18" charset="0"/>
                        </a:rPr>
                        <a:t>8</a:t>
                      </a:r>
                      <a:r>
                        <a:rPr lang="es-ES" sz="2400" b="0" kern="1200">
                          <a:solidFill>
                            <a:schemeClr val="dk1"/>
                          </a:solidFill>
                          <a:effectLst/>
                          <a:latin typeface="Times New Roman" panose="02020603050405020304" pitchFamily="18" charset="0"/>
                          <a:ea typeface="+mn-ea"/>
                          <a:cs typeface="Times New Roman" panose="02020603050405020304" pitchFamily="18" charset="0"/>
                        </a:rPr>
                        <a:t>% so với cùng kỳ</a:t>
                      </a:r>
                      <a:r>
                        <a:rPr lang="vi-VN" sz="2400" b="0" kern="1200">
                          <a:solidFill>
                            <a:schemeClr val="dk1"/>
                          </a:solidFill>
                          <a:effectLst/>
                          <a:latin typeface="Times New Roman" panose="02020603050405020304" pitchFamily="18" charset="0"/>
                          <a:ea typeface="+mn-ea"/>
                          <a:cs typeface="Times New Roman" panose="02020603050405020304" pitchFamily="18" charset="0"/>
                        </a:rPr>
                        <a:t>. R</a:t>
                      </a:r>
                      <a:r>
                        <a:rPr lang="es-ES" sz="2400" b="0" kern="1200">
                          <a:solidFill>
                            <a:schemeClr val="dk1"/>
                          </a:solidFill>
                          <a:effectLst/>
                          <a:latin typeface="Times New Roman" panose="02020603050405020304" pitchFamily="18" charset="0"/>
                          <a:ea typeface="+mn-ea"/>
                          <a:cs typeface="Times New Roman" panose="02020603050405020304" pitchFamily="18" charset="0"/>
                        </a:rPr>
                        <a:t>iêng khai thác cá ngừ đại dương ước đạt 2.208,1 tấn, giảm 12,4%; sản lượng nuôi trồng thủy sản ước đạt 68,4 tấn, tăng 0,3%</a:t>
                      </a: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1">
            <a:extLst>
              <a:ext uri="{FF2B5EF4-FFF2-40B4-BE49-F238E27FC236}">
                <a16:creationId xmlns:a16="http://schemas.microsoft.com/office/drawing/2014/main" id="{D332573F-550E-B385-BE21-241ECFBBB5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71086" y="1389294"/>
            <a:ext cx="3855387" cy="2398309"/>
          </a:xfrm>
          <a:prstGeom prst="rect">
            <a:avLst/>
          </a:prstGeom>
        </p:spPr>
      </p:pic>
      <p:pic>
        <p:nvPicPr>
          <p:cNvPr id="5" name="Picture 4" descr="A group of men talking&#10;&#10;Description automatically generated with low confidence">
            <a:extLst>
              <a:ext uri="{FF2B5EF4-FFF2-40B4-BE49-F238E27FC236}">
                <a16:creationId xmlns:a16="http://schemas.microsoft.com/office/drawing/2014/main" id="{3CDF5BD5-9FC9-82BF-1AB2-3E88F876FD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71086" y="3978532"/>
            <a:ext cx="3855387" cy="2497105"/>
          </a:xfrm>
          <a:prstGeom prst="rect">
            <a:avLst/>
          </a:prstGeom>
        </p:spPr>
      </p:pic>
    </p:spTree>
    <p:extLst>
      <p:ext uri="{BB962C8B-B14F-4D97-AF65-F5344CB8AC3E}">
        <p14:creationId xmlns:p14="http://schemas.microsoft.com/office/powerpoint/2010/main" val="996757595"/>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02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FF705920-E1B4-B4D0-9EA4-A27AA5761577}"/>
              </a:ext>
            </a:extLst>
          </p:cNvPr>
          <p:cNvCxnSpPr>
            <a:cxnSpLocks/>
          </p:cNvCxnSpPr>
          <p:nvPr/>
        </p:nvCxnSpPr>
        <p:spPr>
          <a:xfrm>
            <a:off x="777362" y="524236"/>
            <a:ext cx="8400194"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1DC26C3-E6F4-C27A-8624-3A65D81B6008}"/>
              </a:ext>
            </a:extLst>
          </p:cNvPr>
          <p:cNvSpPr/>
          <p:nvPr/>
        </p:nvSpPr>
        <p:spPr>
          <a:xfrm>
            <a:off x="1119325" y="640147"/>
            <a:ext cx="422263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2. Công nghiệp – xây dựng</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656583285"/>
              </p:ext>
            </p:extLst>
          </p:nvPr>
        </p:nvGraphicFramePr>
        <p:xfrm>
          <a:off x="685332" y="1123209"/>
          <a:ext cx="7268091" cy="1767840"/>
        </p:xfrm>
        <a:graphic>
          <a:graphicData uri="http://schemas.openxmlformats.org/drawingml/2006/table">
            <a:tbl>
              <a:tblPr firstRow="1" bandRow="1"/>
              <a:tblGrid>
                <a:gridCol w="7268091">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Chỉ số sản xuất công nghiệp (IIP) </a:t>
                      </a:r>
                      <a:r>
                        <a:rPr lang="en-US" sz="2400" b="0" kern="1200">
                          <a:solidFill>
                            <a:schemeClr val="dk1"/>
                          </a:solidFill>
                          <a:effectLst/>
                          <a:latin typeface="Times New Roman" panose="02020603050405020304" pitchFamily="18" charset="0"/>
                          <a:ea typeface="+mn-ea"/>
                          <a:cs typeface="Times New Roman" panose="02020603050405020304" pitchFamily="18" charset="0"/>
                        </a:rPr>
                        <a:t>tháng 02 tăng 1,59% so với tháng trước và tăng 5,74% so với cùng kỳ.</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Tính chung 02 tháng đầu năm, c</a:t>
                      </a:r>
                      <a:r>
                        <a:rPr lang="pt-BR" sz="2400" b="0" kern="1200">
                          <a:solidFill>
                            <a:schemeClr val="dk1"/>
                          </a:solidFill>
                          <a:effectLst/>
                          <a:latin typeface="Times New Roman" panose="02020603050405020304" pitchFamily="18" charset="0"/>
                          <a:ea typeface="+mn-ea"/>
                          <a:cs typeface="Times New Roman" panose="02020603050405020304" pitchFamily="18" charset="0"/>
                        </a:rPr>
                        <a:t>hỉ số sản xuất công nghiệp </a:t>
                      </a:r>
                      <a:r>
                        <a:rPr lang="vi-VN" sz="2400" b="0" kern="1200">
                          <a:solidFill>
                            <a:schemeClr val="dk1"/>
                          </a:solidFill>
                          <a:effectLst/>
                          <a:latin typeface="Times New Roman" panose="02020603050405020304" pitchFamily="18" charset="0"/>
                          <a:ea typeface="+mn-ea"/>
                          <a:cs typeface="Times New Roman" panose="02020603050405020304" pitchFamily="18" charset="0"/>
                        </a:rPr>
                        <a:t>(IIP) </a:t>
                      </a:r>
                      <a:r>
                        <a:rPr lang="en-US" sz="2400" b="0" kern="1200">
                          <a:solidFill>
                            <a:schemeClr val="dk1"/>
                          </a:solidFill>
                          <a:effectLst/>
                          <a:latin typeface="Times New Roman" panose="02020603050405020304" pitchFamily="18" charset="0"/>
                          <a:ea typeface="+mn-ea"/>
                          <a:cs typeface="Times New Roman" panose="02020603050405020304" pitchFamily="18" charset="0"/>
                        </a:rPr>
                        <a:t>giảm 0,68</a:t>
                      </a:r>
                      <a:r>
                        <a:rPr lang="pt-BR" sz="2400" b="0" kern="1200">
                          <a:solidFill>
                            <a:schemeClr val="dk1"/>
                          </a:solidFill>
                          <a:effectLst/>
                          <a:latin typeface="Times New Roman" panose="02020603050405020304" pitchFamily="18" charset="0"/>
                          <a:ea typeface="+mn-ea"/>
                          <a:cs typeface="Times New Roman" panose="02020603050405020304" pitchFamily="18" charset="0"/>
                        </a:rPr>
                        <a:t>% so</a:t>
                      </a:r>
                      <a:r>
                        <a:rPr lang="vi-VN" sz="2400" b="0" kern="1200">
                          <a:solidFill>
                            <a:schemeClr val="dk1"/>
                          </a:solidFill>
                          <a:effectLst/>
                          <a:latin typeface="Times New Roman" panose="02020603050405020304" pitchFamily="18" charset="0"/>
                          <a:ea typeface="+mn-ea"/>
                          <a:cs typeface="Times New Roman" panose="02020603050405020304" pitchFamily="18" charset="0"/>
                        </a:rPr>
                        <a:t> với</a:t>
                      </a:r>
                      <a:r>
                        <a:rPr lang="pt-BR" sz="2400" b="0" kern="1200">
                          <a:solidFill>
                            <a:schemeClr val="dk1"/>
                          </a:solidFill>
                          <a:effectLst/>
                          <a:latin typeface="Times New Roman" panose="02020603050405020304" pitchFamily="18" charset="0"/>
                          <a:ea typeface="+mn-ea"/>
                          <a:cs typeface="Times New Roman" panose="02020603050405020304" pitchFamily="18" charset="0"/>
                        </a:rPr>
                        <a:t> cùng kỳ</a:t>
                      </a:r>
                      <a:endParaRPr lang="it-IT"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10" name="Picture 9" descr="Logo, company name&#10;&#10;Description automatically generated">
            <a:extLst>
              <a:ext uri="{FF2B5EF4-FFF2-40B4-BE49-F238E27FC236}">
                <a16:creationId xmlns:a16="http://schemas.microsoft.com/office/drawing/2014/main" id="{98D5E116-9007-7C05-526C-FE5AD4674A8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3757" y="697954"/>
            <a:ext cx="2633718" cy="5572552"/>
          </a:xfrm>
          <a:prstGeom prst="rect">
            <a:avLst/>
          </a:prstGeom>
        </p:spPr>
      </p:pic>
      <p:graphicFrame>
        <p:nvGraphicFramePr>
          <p:cNvPr id="12" name="Table 11">
            <a:extLst>
              <a:ext uri="{FF2B5EF4-FFF2-40B4-BE49-F238E27FC236}">
                <a16:creationId xmlns:a16="http://schemas.microsoft.com/office/drawing/2014/main" id="{109A2457-F4BA-9DA8-51CF-3493BDD4EE8F}"/>
              </a:ext>
            </a:extLst>
          </p:cNvPr>
          <p:cNvGraphicFramePr>
            <a:graphicFrameLocks noGrp="1"/>
          </p:cNvGraphicFramePr>
          <p:nvPr>
            <p:extLst>
              <p:ext uri="{D42A27DB-BD31-4B8C-83A1-F6EECF244321}">
                <p14:modId xmlns:p14="http://schemas.microsoft.com/office/powerpoint/2010/main" val="3623467732"/>
              </p:ext>
            </p:extLst>
          </p:nvPr>
        </p:nvGraphicFramePr>
        <p:xfrm>
          <a:off x="894163" y="3116356"/>
          <a:ext cx="7159267" cy="3470910"/>
        </p:xfrm>
        <a:graphic>
          <a:graphicData uri="http://schemas.openxmlformats.org/drawingml/2006/table">
            <a:tbl>
              <a:tblPr firstRow="1" firstCol="1" bandRow="1">
                <a:tableStyleId>{5C22544A-7EE6-4342-B048-85BDC9FD1C3A}</a:tableStyleId>
              </a:tblPr>
              <a:tblGrid>
                <a:gridCol w="762526">
                  <a:extLst>
                    <a:ext uri="{9D8B030D-6E8A-4147-A177-3AD203B41FA5}">
                      <a16:colId xmlns:a16="http://schemas.microsoft.com/office/drawing/2014/main" val="944650427"/>
                    </a:ext>
                  </a:extLst>
                </a:gridCol>
                <a:gridCol w="2753564">
                  <a:extLst>
                    <a:ext uri="{9D8B030D-6E8A-4147-A177-3AD203B41FA5}">
                      <a16:colId xmlns:a16="http://schemas.microsoft.com/office/drawing/2014/main" val="4225219870"/>
                    </a:ext>
                  </a:extLst>
                </a:gridCol>
                <a:gridCol w="536591">
                  <a:extLst>
                    <a:ext uri="{9D8B030D-6E8A-4147-A177-3AD203B41FA5}">
                      <a16:colId xmlns:a16="http://schemas.microsoft.com/office/drawing/2014/main" val="1490609761"/>
                    </a:ext>
                  </a:extLst>
                </a:gridCol>
                <a:gridCol w="776645">
                  <a:extLst>
                    <a:ext uri="{9D8B030D-6E8A-4147-A177-3AD203B41FA5}">
                      <a16:colId xmlns:a16="http://schemas.microsoft.com/office/drawing/2014/main" val="1184184738"/>
                    </a:ext>
                  </a:extLst>
                </a:gridCol>
                <a:gridCol w="748405">
                  <a:extLst>
                    <a:ext uri="{9D8B030D-6E8A-4147-A177-3AD203B41FA5}">
                      <a16:colId xmlns:a16="http://schemas.microsoft.com/office/drawing/2014/main" val="2313621338"/>
                    </a:ext>
                  </a:extLst>
                </a:gridCol>
                <a:gridCol w="790768">
                  <a:extLst>
                    <a:ext uri="{9D8B030D-6E8A-4147-A177-3AD203B41FA5}">
                      <a16:colId xmlns:a16="http://schemas.microsoft.com/office/drawing/2014/main" val="2030372952"/>
                    </a:ext>
                  </a:extLst>
                </a:gridCol>
                <a:gridCol w="790768">
                  <a:extLst>
                    <a:ext uri="{9D8B030D-6E8A-4147-A177-3AD203B41FA5}">
                      <a16:colId xmlns:a16="http://schemas.microsoft.com/office/drawing/2014/main" val="3843596918"/>
                    </a:ext>
                  </a:extLst>
                </a:gridCol>
              </a:tblGrid>
              <a:tr h="220980">
                <a:tc gridSpan="7">
                  <a:txBody>
                    <a:bodyPr/>
                    <a:lstStyle/>
                    <a:p>
                      <a:pPr algn="ctr"/>
                      <a:r>
                        <a:rPr lang="en-US" sz="1300">
                          <a:solidFill>
                            <a:schemeClr val="tx1"/>
                          </a:solidFill>
                          <a:effectLst/>
                        </a:rPr>
                        <a:t>BIỂU SỐ LIỆU CHỈ TIÊU CÔNG NGHIỆP THÁNG 02 NĂM 2023 </a:t>
                      </a:r>
                      <a:endParaRPr lang="vi-VN" sz="1200">
                        <a:solidFill>
                          <a:schemeClr val="tx1"/>
                        </a:solidFill>
                        <a:effectLst/>
                        <a:latin typeface="Times New Roman" panose="02020603050405020304" pitchFamily="18" charset="0"/>
                        <a:ea typeface="Times New Roman" panose="02020603050405020304" pitchFamily="18" charset="0"/>
                      </a:endParaRPr>
                    </a:p>
                  </a:txBody>
                  <a:tcPr marL="68580" marR="68580" marT="0" marB="0" anchor="ctr">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3787399243"/>
                  </a:ext>
                </a:extLst>
              </a:tr>
              <a:tr h="312420">
                <a:tc rowSpan="2">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TT</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Chỉ tiêu</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Đơn vị tính</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KH năm 2023</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Tháng 02 So với cùng kỳ 2022</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Thực hiện </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extLst>
                  <a:ext uri="{0D108BD9-81ED-4DB2-BD59-A6C34878D82A}">
                    <a16:rowId xmlns:a16="http://schemas.microsoft.com/office/drawing/2014/main" val="3314923893"/>
                  </a:ext>
                </a:extLst>
              </a:tr>
              <a:tr h="662940">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Tháng 02 so tháng 01</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Lũy kế 02 tháng đầu năm</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2020396"/>
                  </a:ext>
                </a:extLst>
              </a:tr>
              <a:tr h="213360">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1</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2</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3</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4</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 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6</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7</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51825623"/>
                  </a:ext>
                </a:extLst>
              </a:tr>
              <a:tr h="381000">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1</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400">
                          <a:solidFill>
                            <a:schemeClr val="tx1"/>
                          </a:solidFill>
                          <a:effectLst/>
                          <a:latin typeface="Times New Roman" panose="02020603050405020304" pitchFamily="18" charset="0"/>
                          <a:cs typeface="Times New Roman" panose="02020603050405020304" pitchFamily="18" charset="0"/>
                        </a:rPr>
                        <a:t>Chỉ số sản xuất công nghiệp (IIP)</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7,5-7,7</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US" sz="1400">
                          <a:solidFill>
                            <a:schemeClr val="tx1"/>
                          </a:solidFill>
                          <a:effectLst/>
                          <a:latin typeface="Times New Roman" panose="02020603050405020304" pitchFamily="18" charset="0"/>
                          <a:cs typeface="Times New Roman" panose="02020603050405020304" pitchFamily="18" charset="0"/>
                        </a:rPr>
                        <a:t>105,74</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US" sz="1400">
                          <a:solidFill>
                            <a:schemeClr val="tx1"/>
                          </a:solidFill>
                          <a:effectLst/>
                          <a:latin typeface="Times New Roman" panose="02020603050405020304" pitchFamily="18" charset="0"/>
                          <a:cs typeface="Times New Roman" panose="02020603050405020304" pitchFamily="18" charset="0"/>
                        </a:rPr>
                        <a:t>101,59</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US" sz="1400">
                          <a:solidFill>
                            <a:schemeClr val="tx1"/>
                          </a:solidFill>
                          <a:effectLst/>
                          <a:latin typeface="Times New Roman" panose="02020603050405020304" pitchFamily="18" charset="0"/>
                          <a:cs typeface="Times New Roman" panose="02020603050405020304" pitchFamily="18" charset="0"/>
                        </a:rPr>
                        <a:t>99,32</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9019483"/>
                  </a:ext>
                </a:extLst>
              </a:tr>
              <a:tr h="381000">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400">
                          <a:solidFill>
                            <a:schemeClr val="tx1"/>
                          </a:solidFill>
                          <a:effectLst/>
                          <a:latin typeface="Times New Roman" panose="02020603050405020304" pitchFamily="18" charset="0"/>
                          <a:cs typeface="Times New Roman" panose="02020603050405020304" pitchFamily="18" charset="0"/>
                        </a:rPr>
                        <a:t>Ngành CN chế biến, chế tạo</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US" sz="1400">
                          <a:solidFill>
                            <a:schemeClr val="tx1"/>
                          </a:solidFill>
                          <a:effectLst/>
                          <a:latin typeface="Times New Roman" panose="02020603050405020304" pitchFamily="18" charset="0"/>
                          <a:cs typeface="Times New Roman" panose="02020603050405020304" pitchFamily="18" charset="0"/>
                        </a:rPr>
                        <a:t> </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US" sz="1400">
                          <a:solidFill>
                            <a:schemeClr val="tx1"/>
                          </a:solidFill>
                          <a:effectLst/>
                          <a:latin typeface="Times New Roman" panose="02020603050405020304" pitchFamily="18" charset="0"/>
                          <a:cs typeface="Times New Roman" panose="02020603050405020304" pitchFamily="18" charset="0"/>
                        </a:rPr>
                        <a:t>104,77</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US" sz="1400">
                          <a:solidFill>
                            <a:schemeClr val="tx1"/>
                          </a:solidFill>
                          <a:effectLst/>
                          <a:latin typeface="Times New Roman" panose="02020603050405020304" pitchFamily="18" charset="0"/>
                          <a:cs typeface="Times New Roman" panose="02020603050405020304" pitchFamily="18" charset="0"/>
                        </a:rPr>
                        <a:t>102,41</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US" sz="1400">
                          <a:solidFill>
                            <a:schemeClr val="tx1"/>
                          </a:solidFill>
                          <a:effectLst/>
                          <a:latin typeface="Times New Roman" panose="02020603050405020304" pitchFamily="18" charset="0"/>
                          <a:cs typeface="Times New Roman" panose="02020603050405020304" pitchFamily="18" charset="0"/>
                        </a:rPr>
                        <a:t>99,38</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3974258"/>
                  </a:ext>
                </a:extLst>
              </a:tr>
              <a:tr h="381000">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400">
                          <a:solidFill>
                            <a:schemeClr val="tx1"/>
                          </a:solidFill>
                          <a:effectLst/>
                          <a:latin typeface="Times New Roman" panose="02020603050405020304" pitchFamily="18" charset="0"/>
                          <a:cs typeface="Times New Roman" panose="02020603050405020304" pitchFamily="18" charset="0"/>
                        </a:rPr>
                        <a:t>Ngành CN khai khoáng</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US" sz="1400">
                          <a:solidFill>
                            <a:schemeClr val="tx1"/>
                          </a:solidFill>
                          <a:effectLst/>
                          <a:latin typeface="Times New Roman" panose="02020603050405020304" pitchFamily="18" charset="0"/>
                          <a:cs typeface="Times New Roman" panose="02020603050405020304" pitchFamily="18" charset="0"/>
                        </a:rPr>
                        <a:t> </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US" sz="1400">
                          <a:solidFill>
                            <a:schemeClr val="tx1"/>
                          </a:solidFill>
                          <a:effectLst/>
                          <a:latin typeface="Times New Roman" panose="02020603050405020304" pitchFamily="18" charset="0"/>
                          <a:cs typeface="Times New Roman" panose="02020603050405020304" pitchFamily="18" charset="0"/>
                        </a:rPr>
                        <a:t>174,63</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US" sz="1400">
                          <a:solidFill>
                            <a:schemeClr val="tx1"/>
                          </a:solidFill>
                          <a:effectLst/>
                          <a:latin typeface="Times New Roman" panose="02020603050405020304" pitchFamily="18" charset="0"/>
                          <a:cs typeface="Times New Roman" panose="02020603050405020304" pitchFamily="18" charset="0"/>
                        </a:rPr>
                        <a:t>103,09</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US" sz="1400">
                          <a:solidFill>
                            <a:schemeClr val="tx1"/>
                          </a:solidFill>
                          <a:effectLst/>
                          <a:latin typeface="Times New Roman" panose="02020603050405020304" pitchFamily="18" charset="0"/>
                          <a:cs typeface="Times New Roman" panose="02020603050405020304" pitchFamily="18" charset="0"/>
                        </a:rPr>
                        <a:t>92,99</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27108400"/>
                  </a:ext>
                </a:extLst>
              </a:tr>
              <a:tr h="381000">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400">
                          <a:solidFill>
                            <a:schemeClr val="tx1"/>
                          </a:solidFill>
                          <a:effectLst/>
                          <a:latin typeface="Times New Roman" panose="02020603050405020304" pitchFamily="18" charset="0"/>
                          <a:cs typeface="Times New Roman" panose="02020603050405020304" pitchFamily="18" charset="0"/>
                        </a:rPr>
                        <a:t>Ngành sản xuất và phân phối điện</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US" sz="1400">
                          <a:solidFill>
                            <a:schemeClr val="tx1"/>
                          </a:solidFill>
                          <a:effectLst/>
                          <a:latin typeface="Times New Roman" panose="02020603050405020304" pitchFamily="18" charset="0"/>
                          <a:cs typeface="Times New Roman" panose="02020603050405020304" pitchFamily="18" charset="0"/>
                        </a:rPr>
                        <a:t> </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US" sz="1400">
                          <a:solidFill>
                            <a:schemeClr val="tx1"/>
                          </a:solidFill>
                          <a:effectLst/>
                          <a:latin typeface="Times New Roman" panose="02020603050405020304" pitchFamily="18" charset="0"/>
                          <a:cs typeface="Times New Roman" panose="02020603050405020304" pitchFamily="18" charset="0"/>
                        </a:rPr>
                        <a:t>111,43</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US" sz="1400">
                          <a:solidFill>
                            <a:schemeClr val="tx1"/>
                          </a:solidFill>
                          <a:effectLst/>
                          <a:latin typeface="Times New Roman" panose="02020603050405020304" pitchFamily="18" charset="0"/>
                          <a:cs typeface="Times New Roman" panose="02020603050405020304" pitchFamily="18" charset="0"/>
                        </a:rPr>
                        <a:t>92,58</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US" sz="1400">
                          <a:solidFill>
                            <a:schemeClr val="tx1"/>
                          </a:solidFill>
                          <a:effectLst/>
                          <a:latin typeface="Times New Roman" panose="02020603050405020304" pitchFamily="18" charset="0"/>
                          <a:cs typeface="Times New Roman" panose="02020603050405020304" pitchFamily="18" charset="0"/>
                        </a:rPr>
                        <a:t>98,88</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9952382"/>
                  </a:ext>
                </a:extLst>
              </a:tr>
              <a:tr h="445770">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400">
                          <a:solidFill>
                            <a:schemeClr val="tx1"/>
                          </a:solidFill>
                          <a:effectLst/>
                          <a:latin typeface="Times New Roman" panose="02020603050405020304" pitchFamily="18" charset="0"/>
                          <a:cs typeface="Times New Roman" panose="02020603050405020304" pitchFamily="18" charset="0"/>
                        </a:rPr>
                        <a:t>Ngành cung cấp nước, quản lý rác thải</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a:solidFill>
                            <a:schemeClr val="tx1"/>
                          </a:solidFill>
                          <a:effectLst/>
                          <a:latin typeface="Times New Roman" panose="02020603050405020304" pitchFamily="18" charset="0"/>
                          <a:cs typeface="Times New Roman" panose="02020603050405020304" pitchFamily="18" charset="0"/>
                        </a:rPr>
                        <a:t>%</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US" sz="1400">
                          <a:solidFill>
                            <a:schemeClr val="tx1"/>
                          </a:solidFill>
                          <a:effectLst/>
                          <a:latin typeface="Times New Roman" panose="02020603050405020304" pitchFamily="18" charset="0"/>
                          <a:cs typeface="Times New Roman" panose="02020603050405020304" pitchFamily="18" charset="0"/>
                        </a:rPr>
                        <a:t> </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US" sz="1400">
                          <a:solidFill>
                            <a:schemeClr val="tx1"/>
                          </a:solidFill>
                          <a:effectLst/>
                          <a:latin typeface="Times New Roman" panose="02020603050405020304" pitchFamily="18" charset="0"/>
                          <a:cs typeface="Times New Roman" panose="02020603050405020304" pitchFamily="18" charset="0"/>
                        </a:rPr>
                        <a:t>105,9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US" sz="1400">
                          <a:solidFill>
                            <a:schemeClr val="tx1"/>
                          </a:solidFill>
                          <a:effectLst/>
                          <a:latin typeface="Times New Roman" panose="02020603050405020304" pitchFamily="18" charset="0"/>
                          <a:cs typeface="Times New Roman" panose="02020603050405020304" pitchFamily="18" charset="0"/>
                        </a:rPr>
                        <a:t>101,17</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US" sz="1400">
                          <a:solidFill>
                            <a:schemeClr val="tx1"/>
                          </a:solidFill>
                          <a:effectLst/>
                          <a:latin typeface="Times New Roman" panose="02020603050405020304" pitchFamily="18" charset="0"/>
                          <a:cs typeface="Times New Roman" panose="02020603050405020304" pitchFamily="18" charset="0"/>
                        </a:rPr>
                        <a:t>103,44</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26934405"/>
                  </a:ext>
                </a:extLst>
              </a:tr>
            </a:tbl>
          </a:graphicData>
        </a:graphic>
      </p:graphicFrame>
    </p:spTree>
    <p:extLst>
      <p:ext uri="{BB962C8B-B14F-4D97-AF65-F5344CB8AC3E}">
        <p14:creationId xmlns:p14="http://schemas.microsoft.com/office/powerpoint/2010/main" val="269414345"/>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02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FF705920-E1B4-B4D0-9EA4-A27AA5761577}"/>
              </a:ext>
            </a:extLst>
          </p:cNvPr>
          <p:cNvCxnSpPr>
            <a:cxnSpLocks/>
          </p:cNvCxnSpPr>
          <p:nvPr/>
        </p:nvCxnSpPr>
        <p:spPr>
          <a:xfrm>
            <a:off x="777362" y="524236"/>
            <a:ext cx="8442139"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1DC26C3-E6F4-C27A-8624-3A65D81B6008}"/>
              </a:ext>
            </a:extLst>
          </p:cNvPr>
          <p:cNvSpPr/>
          <p:nvPr/>
        </p:nvSpPr>
        <p:spPr>
          <a:xfrm>
            <a:off x="1119325" y="640147"/>
            <a:ext cx="422263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2. Công nghiệp – xây dựng</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35610066"/>
              </p:ext>
            </p:extLst>
          </p:nvPr>
        </p:nvGraphicFramePr>
        <p:xfrm>
          <a:off x="473776" y="1576214"/>
          <a:ext cx="4868180" cy="2865120"/>
        </p:xfrm>
        <a:graphic>
          <a:graphicData uri="http://schemas.openxmlformats.org/drawingml/2006/table">
            <a:tbl>
              <a:tblPr firstRow="1" bandRow="1"/>
              <a:tblGrid>
                <a:gridCol w="486818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800" b="0" kern="1200">
                          <a:solidFill>
                            <a:schemeClr val="dk1"/>
                          </a:solidFill>
                          <a:effectLst/>
                          <a:latin typeface="Times New Roman" panose="02020603050405020304" pitchFamily="18" charset="0"/>
                          <a:ea typeface="+mn-ea"/>
                          <a:cs typeface="Times New Roman" panose="02020603050405020304" pitchFamily="18" charset="0"/>
                        </a:rPr>
                        <a:t> </a:t>
                      </a:r>
                      <a:r>
                        <a:rPr lang="vi-VN" sz="2400" b="0" kern="1200">
                          <a:solidFill>
                            <a:schemeClr val="dk1"/>
                          </a:solidFill>
                          <a:effectLst/>
                          <a:latin typeface="Times New Roman" panose="02020603050405020304" pitchFamily="18" charset="0"/>
                          <a:ea typeface="+mn-ea"/>
                          <a:cs typeface="Times New Roman" panose="02020603050405020304" pitchFamily="18" charset="0"/>
                        </a:rPr>
                        <a:t>Tổ chức thành công Hội nghị “Nâng cao chất lượng các công trình xây dựng cơ bản trên địa bàn tỉnh”.</a:t>
                      </a: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Tập trung thực hiện công tác bồi thường, GPMB dự án </a:t>
                      </a:r>
                      <a:r>
                        <a:rPr lang="vi-VN" sz="2400" b="0" kern="1200">
                          <a:solidFill>
                            <a:schemeClr val="dk1"/>
                          </a:solidFill>
                          <a:effectLst/>
                          <a:latin typeface="Times New Roman" panose="02020603050405020304" pitchFamily="18" charset="0"/>
                          <a:ea typeface="+mn-ea"/>
                          <a:cs typeface="Times New Roman" panose="02020603050405020304" pitchFamily="18" charset="0"/>
                        </a:rPr>
                        <a:t>cao tốc Bắc-Nam</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đoạn qua địa bàn tỉnh</a:t>
                      </a:r>
                      <a:r>
                        <a:rPr lang="vi-VN" sz="2400" b="0" kern="1200">
                          <a:solidFill>
                            <a:schemeClr val="dk1"/>
                          </a:solidFill>
                          <a:effectLst/>
                          <a:latin typeface="Times New Roman" panose="02020603050405020304" pitchFamily="18" charset="0"/>
                          <a:ea typeface="+mn-ea"/>
                          <a:cs typeface="Times New Roman" panose="02020603050405020304" pitchFamily="18" charset="0"/>
                        </a:rPr>
                        <a:t>, năm 2023 đã chi trả được 232,9 tỷ đồng</a:t>
                      </a:r>
                      <a:endParaRPr lang="it-IT"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3" name="Picture 2" descr="A person giving a presentation to a group of people&#10;&#10;Description automatically generated with medium confidence">
            <a:extLst>
              <a:ext uri="{FF2B5EF4-FFF2-40B4-BE49-F238E27FC236}">
                <a16:creationId xmlns:a16="http://schemas.microsoft.com/office/drawing/2014/main" id="{9AF740F2-8657-5D2B-1E99-EF2B0034363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3707425"/>
            <a:ext cx="5677357" cy="2955774"/>
          </a:xfrm>
          <a:prstGeom prst="rect">
            <a:avLst/>
          </a:prstGeom>
        </p:spPr>
      </p:pic>
      <p:pic>
        <p:nvPicPr>
          <p:cNvPr id="7" name="Picture 6" descr="A group of people sitting in a room&#10;&#10;Description automatically generated with low confidence">
            <a:extLst>
              <a:ext uri="{FF2B5EF4-FFF2-40B4-BE49-F238E27FC236}">
                <a16:creationId xmlns:a16="http://schemas.microsoft.com/office/drawing/2014/main" id="{5CDE7AB5-FCC7-E08F-A14A-12072FF36A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788564"/>
            <a:ext cx="5703243" cy="2744686"/>
          </a:xfrm>
          <a:prstGeom prst="rect">
            <a:avLst/>
          </a:prstGeom>
        </p:spPr>
      </p:pic>
    </p:spTree>
    <p:extLst>
      <p:ext uri="{BB962C8B-B14F-4D97-AF65-F5344CB8AC3E}">
        <p14:creationId xmlns:p14="http://schemas.microsoft.com/office/powerpoint/2010/main" val="580705254"/>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02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FF705920-E1B4-B4D0-9EA4-A27AA5761577}"/>
              </a:ext>
            </a:extLst>
          </p:cNvPr>
          <p:cNvCxnSpPr>
            <a:cxnSpLocks/>
          </p:cNvCxnSpPr>
          <p:nvPr/>
        </p:nvCxnSpPr>
        <p:spPr>
          <a:xfrm>
            <a:off x="777362" y="524236"/>
            <a:ext cx="8349860"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1DC26C3-E6F4-C27A-8624-3A65D81B6008}"/>
              </a:ext>
            </a:extLst>
          </p:cNvPr>
          <p:cNvSpPr/>
          <p:nvPr/>
        </p:nvSpPr>
        <p:spPr>
          <a:xfrm>
            <a:off x="1119325" y="640147"/>
            <a:ext cx="5202322"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 Thương mại, dịch vụ, tài chính</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65687850"/>
              </p:ext>
            </p:extLst>
          </p:nvPr>
        </p:nvGraphicFramePr>
        <p:xfrm>
          <a:off x="279633" y="1380481"/>
          <a:ext cx="6573352" cy="5303520"/>
        </p:xfrm>
        <a:graphic>
          <a:graphicData uri="http://schemas.openxmlformats.org/drawingml/2006/table">
            <a:tbl>
              <a:tblPr firstRow="1" bandRow="1"/>
              <a:tblGrid>
                <a:gridCol w="6573352">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a:t>
                      </a:r>
                      <a:r>
                        <a:rPr lang="nl-NL" sz="2400" b="0" kern="1200">
                          <a:solidFill>
                            <a:schemeClr val="dk1"/>
                          </a:solidFill>
                          <a:effectLst/>
                          <a:latin typeface="Times New Roman" panose="02020603050405020304" pitchFamily="18" charset="0"/>
                          <a:ea typeface="+mn-ea"/>
                          <a:cs typeface="Times New Roman" panose="02020603050405020304" pitchFamily="18" charset="0"/>
                        </a:rPr>
                        <a:t>ình hình thị trường hàng hóa trên địa bàn tỉnh duy trì ổn định, lưu thông thông suốt</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Tổng mức bán lẻ tháng 02/2023 giảm 3,6% so với tháng trước và tăng 19,2% so với cùng kỳ. </a:t>
                      </a:r>
                      <a:r>
                        <a:rPr lang="nl-NL" sz="2400" b="1" kern="1200">
                          <a:solidFill>
                            <a:schemeClr val="dk1"/>
                          </a:solidFill>
                          <a:effectLst/>
                          <a:latin typeface="Times New Roman" panose="02020603050405020304" pitchFamily="18" charset="0"/>
                          <a:ea typeface="+mn-ea"/>
                          <a:cs typeface="Times New Roman" panose="02020603050405020304" pitchFamily="18" charset="0"/>
                        </a:rPr>
                        <a:t>Tính chung 02 tháng 18.021 tỷ đồng, tăng 14% so với cùng kỳ</a:t>
                      </a:r>
                      <a:endParaRPr lang="vi-VN" sz="2400" b="1"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nl-NL" sz="2400" b="0" kern="1200">
                          <a:solidFill>
                            <a:schemeClr val="dk1"/>
                          </a:solidFill>
                          <a:effectLst/>
                          <a:latin typeface="Times New Roman" panose="02020603050405020304" pitchFamily="18" charset="0"/>
                          <a:ea typeface="+mn-ea"/>
                          <a:cs typeface="Times New Roman" panose="02020603050405020304" pitchFamily="18" charset="0"/>
                        </a:rPr>
                        <a:t>Hoạt động ngoại thương tương đối khó khăn do giá các loại nguyên liệu tiếp tục tăng cao, tình hình lạm phát cao tại các nước như Mỹ, Anh, EU, việc đứt gãy chuỗi cung ứng trong thời gian qua đã ảnh hưởng tới các hoạt động xuất nhập khẩu trên địa bàn tỉnh</a:t>
                      </a: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2800" b="0" kern="1200">
                          <a:solidFill>
                            <a:schemeClr val="dk1"/>
                          </a:solidFill>
                          <a:effectLst/>
                          <a:latin typeface="Times New Roman" panose="02020603050405020304" pitchFamily="18" charset="0"/>
                          <a:ea typeface="+mn-ea"/>
                          <a:cs typeface="Times New Roman" panose="02020603050405020304" pitchFamily="18" charset="0"/>
                        </a:rPr>
                        <a:t> </a:t>
                      </a:r>
                      <a:endParaRPr lang="en-US" sz="2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3" name="Picture 2" descr="A picture containing graphical user interface&#10;&#10;Description automatically generated">
            <a:extLst>
              <a:ext uri="{FF2B5EF4-FFF2-40B4-BE49-F238E27FC236}">
                <a16:creationId xmlns:a16="http://schemas.microsoft.com/office/drawing/2014/main" id="{C3BEF987-00D8-EC17-C0FA-5ED70A56A5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17977" y="1226048"/>
            <a:ext cx="4994390" cy="4405904"/>
          </a:xfrm>
          <a:prstGeom prst="rect">
            <a:avLst/>
          </a:prstGeom>
        </p:spPr>
      </p:pic>
    </p:spTree>
    <p:extLst>
      <p:ext uri="{BB962C8B-B14F-4D97-AF65-F5344CB8AC3E}">
        <p14:creationId xmlns:p14="http://schemas.microsoft.com/office/powerpoint/2010/main" val="3024842976"/>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142508" y="313590"/>
            <a:ext cx="11681460"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2600" b="1">
                <a:solidFill>
                  <a:srgbClr val="040206"/>
                </a:solidFill>
                <a:latin typeface="Times New Roman" panose="02020603050405020304" pitchFamily="18" charset="0"/>
                <a:cs typeface="Times New Roman" panose="02020603050405020304" pitchFamily="18" charset="0"/>
              </a:rPr>
              <a:t>TÌNH HÌNH THỰC HIỆN QUYẾT ĐỊNH 19/QĐ-UBND CỦA UBND TỈNH</a:t>
            </a:r>
            <a:endPar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2" name="Table 1">
            <a:extLst>
              <a:ext uri="{FF2B5EF4-FFF2-40B4-BE49-F238E27FC236}">
                <a16:creationId xmlns:a16="http://schemas.microsoft.com/office/drawing/2014/main" id="{FBFFDBCD-49A2-B604-F9E9-B81E95DF4EB5}"/>
              </a:ext>
            </a:extLst>
          </p:cNvPr>
          <p:cNvGraphicFramePr>
            <a:graphicFrameLocks noGrp="1"/>
          </p:cNvGraphicFramePr>
          <p:nvPr>
            <p:extLst>
              <p:ext uri="{D42A27DB-BD31-4B8C-83A1-F6EECF244321}">
                <p14:modId xmlns:p14="http://schemas.microsoft.com/office/powerpoint/2010/main" val="2981883912"/>
              </p:ext>
            </p:extLst>
          </p:nvPr>
        </p:nvGraphicFramePr>
        <p:xfrm>
          <a:off x="437957" y="1119623"/>
          <a:ext cx="11507966" cy="5730240"/>
        </p:xfrm>
        <a:graphic>
          <a:graphicData uri="http://schemas.openxmlformats.org/drawingml/2006/table">
            <a:tbl>
              <a:tblPr firstRow="1" bandRow="1"/>
              <a:tblGrid>
                <a:gridCol w="11507966">
                  <a:extLst>
                    <a:ext uri="{9D8B030D-6E8A-4147-A177-3AD203B41FA5}">
                      <a16:colId xmlns:a16="http://schemas.microsoft.com/office/drawing/2014/main" val="3655493598"/>
                    </a:ext>
                  </a:extLst>
                </a:gridCol>
              </a:tblGrid>
              <a:tr h="292239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Thực hiện Quyết định 19 và Văn bản số 20 của UBND tỉnh, Sở Kế hoạch và Đầu tư đã ban hành 04 văn bản hướng dẫn, đôn đốc các địa phương thực hiện giao và nhập kế hoạch phát triển kinh tế -xã hội năm 2023.</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Sở Kế hoạch và Đầu tư đã phối hợp với Sở Thông tin truyền thông triển khai hệ thống nhập dữ liệu và hướng dẫn các địa phương triển khai nhập số liệu trên hệ thống tổng hợp thông tin kinh tế - xã hội chủ yếu của năm 2023</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s-ES" sz="2000" b="0" kern="1200">
                          <a:solidFill>
                            <a:schemeClr val="dk1"/>
                          </a:solidFill>
                          <a:effectLst/>
                          <a:latin typeface="Times New Roman" panose="02020603050405020304" pitchFamily="18" charset="0"/>
                          <a:ea typeface="+mn-ea"/>
                          <a:cs typeface="Times New Roman" panose="02020603050405020304" pitchFamily="18" charset="0"/>
                        </a:rPr>
                        <a:t>Các địa phương đã </a:t>
                      </a:r>
                      <a:r>
                        <a:rPr lang="vi-VN" sz="2000" b="0" kern="1200">
                          <a:solidFill>
                            <a:schemeClr val="dk1"/>
                          </a:solidFill>
                          <a:effectLst/>
                          <a:latin typeface="Times New Roman" panose="02020603050405020304" pitchFamily="18" charset="0"/>
                          <a:ea typeface="+mn-ea"/>
                          <a:cs typeface="Times New Roman" panose="02020603050405020304" pitchFamily="18" charset="0"/>
                        </a:rPr>
                        <a:t>giao </a:t>
                      </a:r>
                      <a:r>
                        <a:rPr lang="es-ES" sz="2000" b="0" kern="1200">
                          <a:solidFill>
                            <a:schemeClr val="dk1"/>
                          </a:solidFill>
                          <a:effectLst/>
                          <a:latin typeface="Times New Roman" panose="02020603050405020304" pitchFamily="18" charset="0"/>
                          <a:ea typeface="+mn-ea"/>
                          <a:cs typeface="Times New Roman" panose="02020603050405020304" pitchFamily="18" charset="0"/>
                        </a:rPr>
                        <a:t>xong Kế hoạch năm 2023</a:t>
                      </a:r>
                      <a:r>
                        <a:rPr lang="vi-VN" sz="2000" b="0" kern="1200">
                          <a:solidFill>
                            <a:schemeClr val="dk1"/>
                          </a:solidFill>
                          <a:effectLst/>
                          <a:latin typeface="Times New Roman" panose="02020603050405020304" pitchFamily="18" charset="0"/>
                          <a:ea typeface="+mn-ea"/>
                          <a:cs typeface="Times New Roman" panose="02020603050405020304" pitchFamily="18" charset="0"/>
                        </a:rPr>
                        <a:t>, cụ thể: </a:t>
                      </a:r>
                    </a:p>
                    <a:p>
                      <a:pPr marL="612000" marR="0" lvl="0" indent="-3429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11/11 địa phương đã giao 14 chỉ tiêu tỉnh thông báo</a:t>
                      </a:r>
                    </a:p>
                    <a:p>
                      <a:pPr marL="612000" marR="0" lvl="0" indent="-3429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04 địa phương: An Nhơn, Hoài Nhơn, Tuy Phước và Tây Sơn: đã giao đầy đủ đến cấp xã; giao theo quý và theo tháng</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03 địa phương: Vĩnh Thạnh, Phù Mỹ và Hoài Ân: đã giao đầy đủ đến cấp xã; đã giao theo quý và một số chỉ tiêu theo tháng</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03 địa phương: Quy Nhơn</a:t>
                      </a:r>
                      <a:r>
                        <a:rPr lang="en-US" sz="2000" b="0" kern="1200">
                          <a:solidFill>
                            <a:schemeClr val="dk1"/>
                          </a:solidFill>
                          <a:effectLst/>
                          <a:latin typeface="Times New Roman" panose="02020603050405020304" pitchFamily="18" charset="0"/>
                          <a:ea typeface="+mn-ea"/>
                          <a:cs typeface="Times New Roman" panose="02020603050405020304" pitchFamily="18" charset="0"/>
                        </a:rPr>
                        <a:t>, Phù Cát và An L</a:t>
                      </a:r>
                      <a:r>
                        <a:rPr lang="vi-VN" sz="2000" b="0" kern="1200">
                          <a:solidFill>
                            <a:schemeClr val="dk1"/>
                          </a:solidFill>
                          <a:effectLst/>
                          <a:latin typeface="Times New Roman" panose="02020603050405020304" pitchFamily="18" charset="0"/>
                          <a:ea typeface="+mn-ea"/>
                          <a:cs typeface="Times New Roman" panose="02020603050405020304" pitchFamily="18" charset="0"/>
                        </a:rPr>
                        <a:t>ão: đã giao đầy đủ đến cấp xã; một số chỉ tiêu đã giao theo quý; chưa giao chi tiết theo tháng</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Huyện Vân Canh: một số chỉ tiêu giao đến cấp xã; chưa có chỉ tiêu giao chi tiết theo quý và tháng</a:t>
                      </a:r>
                      <a:br>
                        <a:rPr lang="vi-VN" sz="2000" b="0">
                          <a:effectLst/>
                        </a:rPr>
                      </a:br>
                      <a:endParaRPr lang="es-ES" sz="20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34891770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1AF3AFCB-E6F0-797F-4BB0-50D217787AF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62610" y="3207026"/>
            <a:ext cx="10691190" cy="2199376"/>
          </a:xfrm>
        </p:spPr>
      </p:pic>
      <p:sp>
        <p:nvSpPr>
          <p:cNvPr id="6" name="TextBox 5">
            <a:extLst>
              <a:ext uri="{FF2B5EF4-FFF2-40B4-BE49-F238E27FC236}">
                <a16:creationId xmlns:a16="http://schemas.microsoft.com/office/drawing/2014/main" id="{8F441EC3-0BA7-4F59-8AD1-8445D9757715}"/>
              </a:ext>
            </a:extLst>
          </p:cNvPr>
          <p:cNvSpPr txBox="1"/>
          <p:nvPr/>
        </p:nvSpPr>
        <p:spPr>
          <a:xfrm>
            <a:off x="1139687" y="5609577"/>
            <a:ext cx="1948069" cy="707886"/>
          </a:xfrm>
          <a:prstGeom prst="rect">
            <a:avLst/>
          </a:prstGeom>
          <a:noFill/>
        </p:spPr>
        <p:txBody>
          <a:bodyPr wrap="square" rtlCol="0">
            <a:spAutoFit/>
          </a:bodyPr>
          <a:lstStyle/>
          <a:p>
            <a:pPr algn="ctr"/>
            <a:r>
              <a:rPr lang="en-US" sz="2000" b="1">
                <a:solidFill>
                  <a:srgbClr val="C00000"/>
                </a:solidFill>
                <a:latin typeface="Times New Roman" panose="02020603050405020304" pitchFamily="18" charset="0"/>
                <a:cs typeface="Times New Roman" panose="02020603050405020304" pitchFamily="18" charset="0"/>
              </a:rPr>
              <a:t>14.638,2 tỷ đồng</a:t>
            </a:r>
          </a:p>
          <a:p>
            <a:pPr algn="ctr"/>
            <a:r>
              <a:rPr lang="en-US" sz="2000" b="1">
                <a:solidFill>
                  <a:srgbClr val="C00000"/>
                </a:solidFill>
                <a:latin typeface="Times New Roman" panose="02020603050405020304" pitchFamily="18" charset="0"/>
                <a:cs typeface="Times New Roman" panose="02020603050405020304" pitchFamily="18" charset="0"/>
              </a:rPr>
              <a:t>     14,1%    </a:t>
            </a:r>
          </a:p>
        </p:txBody>
      </p:sp>
      <p:sp>
        <p:nvSpPr>
          <p:cNvPr id="7" name="TextBox 6">
            <a:extLst>
              <a:ext uri="{FF2B5EF4-FFF2-40B4-BE49-F238E27FC236}">
                <a16:creationId xmlns:a16="http://schemas.microsoft.com/office/drawing/2014/main" id="{6C0C263C-8AC5-4EA9-6623-5D53F070A466}"/>
              </a:ext>
            </a:extLst>
          </p:cNvPr>
          <p:cNvSpPr txBox="1"/>
          <p:nvPr/>
        </p:nvSpPr>
        <p:spPr>
          <a:xfrm>
            <a:off x="3743740" y="5604839"/>
            <a:ext cx="1948069" cy="707886"/>
          </a:xfrm>
          <a:prstGeom prst="rect">
            <a:avLst/>
          </a:prstGeom>
          <a:noFill/>
        </p:spPr>
        <p:txBody>
          <a:bodyPr wrap="square" rtlCol="0">
            <a:spAutoFit/>
          </a:bodyPr>
          <a:lstStyle/>
          <a:p>
            <a:pPr algn="ctr"/>
            <a:r>
              <a:rPr lang="en-US" sz="2000" b="1">
                <a:solidFill>
                  <a:srgbClr val="C00000"/>
                </a:solidFill>
                <a:latin typeface="Times New Roman" panose="02020603050405020304" pitchFamily="18" charset="0"/>
                <a:cs typeface="Times New Roman" panose="02020603050405020304" pitchFamily="18" charset="0"/>
              </a:rPr>
              <a:t>2.545.5 tỷ đồng</a:t>
            </a:r>
          </a:p>
          <a:p>
            <a:pPr algn="ctr"/>
            <a:r>
              <a:rPr lang="en-US" sz="2000" b="1">
                <a:solidFill>
                  <a:srgbClr val="C00000"/>
                </a:solidFill>
                <a:latin typeface="Times New Roman" panose="02020603050405020304" pitchFamily="18" charset="0"/>
                <a:cs typeface="Times New Roman" panose="02020603050405020304" pitchFamily="18" charset="0"/>
              </a:rPr>
              <a:t>     14,7%    </a:t>
            </a:r>
          </a:p>
        </p:txBody>
      </p:sp>
      <p:sp>
        <p:nvSpPr>
          <p:cNvPr id="8" name="TextBox 7">
            <a:extLst>
              <a:ext uri="{FF2B5EF4-FFF2-40B4-BE49-F238E27FC236}">
                <a16:creationId xmlns:a16="http://schemas.microsoft.com/office/drawing/2014/main" id="{BE3FBCC4-B1C6-7537-0DC2-C1A9645EA02C}"/>
              </a:ext>
            </a:extLst>
          </p:cNvPr>
          <p:cNvSpPr txBox="1"/>
          <p:nvPr/>
        </p:nvSpPr>
        <p:spPr>
          <a:xfrm>
            <a:off x="6504380" y="5647771"/>
            <a:ext cx="1948069" cy="707886"/>
          </a:xfrm>
          <a:prstGeom prst="rect">
            <a:avLst/>
          </a:prstGeom>
          <a:noFill/>
        </p:spPr>
        <p:txBody>
          <a:bodyPr wrap="square" rtlCol="0">
            <a:spAutoFit/>
          </a:bodyPr>
          <a:lstStyle/>
          <a:p>
            <a:pPr algn="ctr"/>
            <a:r>
              <a:rPr lang="en-US" sz="2000" b="1">
                <a:solidFill>
                  <a:srgbClr val="C00000"/>
                </a:solidFill>
                <a:latin typeface="Times New Roman" panose="02020603050405020304" pitchFamily="18" charset="0"/>
                <a:cs typeface="Times New Roman" panose="02020603050405020304" pitchFamily="18" charset="0"/>
              </a:rPr>
              <a:t>11,5 tỷ đồng</a:t>
            </a:r>
          </a:p>
          <a:p>
            <a:pPr algn="ctr"/>
            <a:r>
              <a:rPr lang="en-US" sz="2000" b="1">
                <a:solidFill>
                  <a:srgbClr val="C00000"/>
                </a:solidFill>
                <a:latin typeface="Times New Roman" panose="02020603050405020304" pitchFamily="18" charset="0"/>
                <a:cs typeface="Times New Roman" panose="02020603050405020304" pitchFamily="18" charset="0"/>
              </a:rPr>
              <a:t>     0,2%    </a:t>
            </a:r>
          </a:p>
        </p:txBody>
      </p:sp>
      <p:sp>
        <p:nvSpPr>
          <p:cNvPr id="9" name="TextBox 8">
            <a:extLst>
              <a:ext uri="{FF2B5EF4-FFF2-40B4-BE49-F238E27FC236}">
                <a16:creationId xmlns:a16="http://schemas.microsoft.com/office/drawing/2014/main" id="{BF2EF6F2-669D-669D-8EC0-42EAD0DB9009}"/>
              </a:ext>
            </a:extLst>
          </p:cNvPr>
          <p:cNvSpPr txBox="1"/>
          <p:nvPr/>
        </p:nvSpPr>
        <p:spPr>
          <a:xfrm>
            <a:off x="9104244" y="5604839"/>
            <a:ext cx="1948069" cy="707886"/>
          </a:xfrm>
          <a:prstGeom prst="rect">
            <a:avLst/>
          </a:prstGeom>
          <a:noFill/>
        </p:spPr>
        <p:txBody>
          <a:bodyPr wrap="square" rtlCol="0">
            <a:spAutoFit/>
          </a:bodyPr>
          <a:lstStyle/>
          <a:p>
            <a:pPr algn="ctr"/>
            <a:r>
              <a:rPr lang="en-US" sz="2000" b="1">
                <a:solidFill>
                  <a:srgbClr val="C00000"/>
                </a:solidFill>
                <a:latin typeface="Times New Roman" panose="02020603050405020304" pitchFamily="18" charset="0"/>
                <a:cs typeface="Times New Roman" panose="02020603050405020304" pitchFamily="18" charset="0"/>
              </a:rPr>
              <a:t>826,2 tỷ đồng</a:t>
            </a:r>
          </a:p>
          <a:p>
            <a:pPr algn="ctr"/>
            <a:r>
              <a:rPr lang="en-US" sz="2000" b="1">
                <a:solidFill>
                  <a:srgbClr val="C00000"/>
                </a:solidFill>
                <a:latin typeface="Times New Roman" panose="02020603050405020304" pitchFamily="18" charset="0"/>
                <a:cs typeface="Times New Roman" panose="02020603050405020304" pitchFamily="18" charset="0"/>
              </a:rPr>
              <a:t>     10,6%    </a:t>
            </a:r>
          </a:p>
        </p:txBody>
      </p:sp>
      <p:sp>
        <p:nvSpPr>
          <p:cNvPr id="11" name="Arrow: Down 59">
            <a:extLst>
              <a:ext uri="{FF2B5EF4-FFF2-40B4-BE49-F238E27FC236}">
                <a16:creationId xmlns:a16="http://schemas.microsoft.com/office/drawing/2014/main" id="{3C85A78B-8864-7D3C-593A-0204297AF05C}"/>
              </a:ext>
            </a:extLst>
          </p:cNvPr>
          <p:cNvSpPr/>
          <p:nvPr/>
        </p:nvSpPr>
        <p:spPr>
          <a:xfrm rot="10800000">
            <a:off x="9585306" y="6001713"/>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2" name="Arrow: Down 59">
            <a:extLst>
              <a:ext uri="{FF2B5EF4-FFF2-40B4-BE49-F238E27FC236}">
                <a16:creationId xmlns:a16="http://schemas.microsoft.com/office/drawing/2014/main" id="{D84514DD-CD76-9679-DDE8-4B4A4B154A4E}"/>
              </a:ext>
            </a:extLst>
          </p:cNvPr>
          <p:cNvSpPr/>
          <p:nvPr/>
        </p:nvSpPr>
        <p:spPr>
          <a:xfrm rot="10800000">
            <a:off x="7070465" y="6031113"/>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3" name="Arrow: Down 59">
            <a:extLst>
              <a:ext uri="{FF2B5EF4-FFF2-40B4-BE49-F238E27FC236}">
                <a16:creationId xmlns:a16="http://schemas.microsoft.com/office/drawing/2014/main" id="{C7E20C53-0FA5-0B76-A966-36B3BA3FF1AF}"/>
              </a:ext>
            </a:extLst>
          </p:cNvPr>
          <p:cNvSpPr/>
          <p:nvPr/>
        </p:nvSpPr>
        <p:spPr>
          <a:xfrm rot="10800000">
            <a:off x="4236018" y="6001713"/>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4" name="Arrow: Down 59">
            <a:extLst>
              <a:ext uri="{FF2B5EF4-FFF2-40B4-BE49-F238E27FC236}">
                <a16:creationId xmlns:a16="http://schemas.microsoft.com/office/drawing/2014/main" id="{D83C3182-4821-7FE4-C7FC-29324F3478DD}"/>
              </a:ext>
            </a:extLst>
          </p:cNvPr>
          <p:cNvSpPr/>
          <p:nvPr/>
        </p:nvSpPr>
        <p:spPr>
          <a:xfrm rot="10800000">
            <a:off x="1659821" y="6001714"/>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8" name="Rectangle 17">
            <a:extLst>
              <a:ext uri="{FF2B5EF4-FFF2-40B4-BE49-F238E27FC236}">
                <a16:creationId xmlns:a16="http://schemas.microsoft.com/office/drawing/2014/main" id="{FFC10AC6-2C73-A1C4-5D01-9745FB860C53}"/>
              </a:ext>
            </a:extLst>
          </p:cNvPr>
          <p:cNvSpPr/>
          <p:nvPr/>
        </p:nvSpPr>
        <p:spPr>
          <a:xfrm>
            <a:off x="337533" y="286022"/>
            <a:ext cx="11516933" cy="584775"/>
          </a:xfrm>
          <a:prstGeom prst="rect">
            <a:avLst/>
          </a:prstGeom>
        </p:spPr>
        <p:txBody>
          <a:bodyPr wrap="square">
            <a:spAutoFit/>
          </a:bodyPr>
          <a:lstStyle/>
          <a:p>
            <a:pPr marL="457200" marR="0" lvl="1" indent="-457200" algn="just" defTabSz="914400" rtl="0" eaLnBrk="1" fontAlgn="auto" latinLnBrk="0" hangingPunct="1">
              <a:lnSpc>
                <a:spcPct val="100000"/>
              </a:lnSpc>
              <a:spcBef>
                <a:spcPts val="600"/>
              </a:spcBef>
              <a:spcAft>
                <a:spcPts val="0"/>
              </a:spcAft>
              <a:buClrTx/>
              <a:buSzTx/>
              <a:buFont typeface="Wingdings" pitchFamily="2" charset="2"/>
              <a:buChar char="Ø"/>
              <a:tabLst/>
              <a:defRPr/>
            </a:pPr>
            <a:r>
              <a:rPr kumimoji="0" lang="en-US" sz="3200" b="1" u="none" strike="noStrike" kern="0" cap="none" spc="-10" normalizeH="0" baseline="0" noProof="0">
                <a:ln>
                  <a:noFill/>
                </a:ln>
                <a:solidFill>
                  <a:srgbClr val="381850"/>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ổng mức bán lẻ hàng hóa và doanh thu dịch vụ tiêu dùng</a:t>
            </a:r>
          </a:p>
        </p:txBody>
      </p:sp>
      <p:sp>
        <p:nvSpPr>
          <p:cNvPr id="19" name="Rounded Rectangle 77">
            <a:extLst>
              <a:ext uri="{FF2B5EF4-FFF2-40B4-BE49-F238E27FC236}">
                <a16:creationId xmlns:a16="http://schemas.microsoft.com/office/drawing/2014/main" id="{1D58FBF3-9576-499C-CA58-084366E54F8C}"/>
              </a:ext>
            </a:extLst>
          </p:cNvPr>
          <p:cNvSpPr/>
          <p:nvPr/>
        </p:nvSpPr>
        <p:spPr>
          <a:xfrm>
            <a:off x="1139686" y="1069233"/>
            <a:ext cx="10214113" cy="1407115"/>
          </a:xfrm>
          <a:prstGeom prst="roundRect">
            <a:avLst/>
          </a:prstGeom>
          <a:solidFill>
            <a:schemeClr val="accent6">
              <a:lumMod val="40000"/>
              <a:lumOff val="60000"/>
            </a:schemeClr>
          </a:solidFill>
          <a:ln>
            <a:noFill/>
          </a:ln>
          <a:effectLst>
            <a:innerShdw blurRad="63500" dist="50800" dir="2700000">
              <a:schemeClr val="accent3">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46499BF0-4D64-5CB9-D715-F6433918CD00}"/>
              </a:ext>
            </a:extLst>
          </p:cNvPr>
          <p:cNvSpPr txBox="1"/>
          <p:nvPr/>
        </p:nvSpPr>
        <p:spPr>
          <a:xfrm>
            <a:off x="2916621" y="1808425"/>
            <a:ext cx="5123793" cy="584775"/>
          </a:xfrm>
          <a:prstGeom prst="rect">
            <a:avLst/>
          </a:prstGeom>
          <a:noFill/>
        </p:spPr>
        <p:txBody>
          <a:bodyPr wrap="square" rtlCol="0">
            <a:spAutoFit/>
          </a:bodyPr>
          <a:lstStyle/>
          <a:p>
            <a:pPr algn="ctr"/>
            <a:r>
              <a:rPr lang="en-US" sz="3200" b="1">
                <a:solidFill>
                  <a:srgbClr val="C00000"/>
                </a:solidFill>
                <a:latin typeface="Times New Roman" panose="02020603050405020304" pitchFamily="18" charset="0"/>
                <a:cs typeface="Times New Roman" panose="02020603050405020304" pitchFamily="18" charset="0"/>
              </a:rPr>
              <a:t>18.021,4 </a:t>
            </a:r>
            <a:r>
              <a:rPr lang="en-US" sz="3200" b="1" err="1">
                <a:solidFill>
                  <a:srgbClr val="C00000"/>
                </a:solidFill>
                <a:latin typeface="Times New Roman" panose="02020603050405020304" pitchFamily="18" charset="0"/>
                <a:cs typeface="Times New Roman" panose="02020603050405020304" pitchFamily="18" charset="0"/>
              </a:rPr>
              <a:t>tỷ</a:t>
            </a:r>
            <a:r>
              <a:rPr lang="en-US" sz="3200" b="1">
                <a:solidFill>
                  <a:srgbClr val="C00000"/>
                </a:solidFill>
                <a:latin typeface="Times New Roman" panose="02020603050405020304" pitchFamily="18" charset="0"/>
                <a:cs typeface="Times New Roman" panose="02020603050405020304" pitchFamily="18" charset="0"/>
              </a:rPr>
              <a:t> đồng           14%    </a:t>
            </a:r>
          </a:p>
        </p:txBody>
      </p:sp>
      <p:sp>
        <p:nvSpPr>
          <p:cNvPr id="21" name="TextBox 20">
            <a:extLst>
              <a:ext uri="{FF2B5EF4-FFF2-40B4-BE49-F238E27FC236}">
                <a16:creationId xmlns:a16="http://schemas.microsoft.com/office/drawing/2014/main" id="{594D60B9-0CD0-31D2-BDDF-43AA9FE41EBF}"/>
              </a:ext>
            </a:extLst>
          </p:cNvPr>
          <p:cNvSpPr txBox="1"/>
          <p:nvPr/>
        </p:nvSpPr>
        <p:spPr>
          <a:xfrm>
            <a:off x="1139687" y="1311125"/>
            <a:ext cx="10432203" cy="461665"/>
          </a:xfrm>
          <a:prstGeom prst="rect">
            <a:avLst/>
          </a:prstGeom>
          <a:noFill/>
          <a:effectLst>
            <a:innerShdw blurRad="63500" dist="50800" dir="2700000">
              <a:prstClr val="black">
                <a:alpha val="50000"/>
              </a:prstClr>
            </a:innerShdw>
          </a:effectLst>
        </p:spPr>
        <p:txBody>
          <a:bodyPr wrap="square" rtlCol="0">
            <a:spAutoFit/>
          </a:bodyPr>
          <a:lstStyle/>
          <a:p>
            <a:r>
              <a:rPr kumimoji="0" lang="en-US" sz="2400" b="1" u="none" strike="noStrike" kern="0" cap="none" spc="-10" normalizeH="0" baseline="0" noProof="0">
                <a:ln>
                  <a:noFill/>
                </a:ln>
                <a:solidFill>
                  <a:srgbClr val="381850"/>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ổng mức bán lẻ hàng hóa và doanh thu dịch vụ tiêu dùng 02 tháng đầu năm</a:t>
            </a:r>
            <a:endParaRPr lang="en-US" sz="2400" b="1">
              <a:solidFill>
                <a:srgbClr val="202066"/>
              </a:solidFill>
              <a:latin typeface="Times New Roman" panose="02020603050405020304" pitchFamily="18" charset="0"/>
              <a:cs typeface="Times New Roman" panose="02020603050405020304" pitchFamily="18" charset="0"/>
            </a:endParaRPr>
          </a:p>
        </p:txBody>
      </p:sp>
      <p:sp>
        <p:nvSpPr>
          <p:cNvPr id="22" name="Arrow: Down 59">
            <a:extLst>
              <a:ext uri="{FF2B5EF4-FFF2-40B4-BE49-F238E27FC236}">
                <a16:creationId xmlns:a16="http://schemas.microsoft.com/office/drawing/2014/main" id="{C2F6210E-E023-1A34-F60D-160959C67461}"/>
              </a:ext>
            </a:extLst>
          </p:cNvPr>
          <p:cNvSpPr/>
          <p:nvPr/>
        </p:nvSpPr>
        <p:spPr>
          <a:xfrm rot="10800000">
            <a:off x="6504380" y="1847240"/>
            <a:ext cx="469482" cy="383342"/>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182263903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Arrow: Down 59">
            <a:extLst>
              <a:ext uri="{FF2B5EF4-FFF2-40B4-BE49-F238E27FC236}">
                <a16:creationId xmlns:a16="http://schemas.microsoft.com/office/drawing/2014/main" id="{76FC2223-CBDC-4B1C-A8C6-0DBB61B65684}"/>
              </a:ext>
            </a:extLst>
          </p:cNvPr>
          <p:cNvSpPr/>
          <p:nvPr/>
        </p:nvSpPr>
        <p:spPr>
          <a:xfrm>
            <a:off x="2676620" y="5644475"/>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grpSp>
        <p:nvGrpSpPr>
          <p:cNvPr id="36" name="Group 35"/>
          <p:cNvGrpSpPr/>
          <p:nvPr/>
        </p:nvGrpSpPr>
        <p:grpSpPr>
          <a:xfrm>
            <a:off x="1701034" y="3199119"/>
            <a:ext cx="2301262" cy="1908904"/>
            <a:chOff x="644775" y="2882898"/>
            <a:chExt cx="1672458" cy="948900"/>
          </a:xfrm>
        </p:grpSpPr>
        <p:pic>
          <p:nvPicPr>
            <p:cNvPr id="3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4775" y="2882898"/>
              <a:ext cx="1611208" cy="94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TextBox 37"/>
            <p:cNvSpPr txBox="1"/>
            <p:nvPr/>
          </p:nvSpPr>
          <p:spPr>
            <a:xfrm>
              <a:off x="1631433" y="3545075"/>
              <a:ext cx="685800" cy="181270"/>
            </a:xfrm>
            <a:prstGeom prst="rect">
              <a:avLst/>
            </a:prstGeom>
            <a:noFill/>
          </p:spPr>
          <p:txBody>
            <a:bodyPr wrap="square" rtlCol="0">
              <a:spAutoFit/>
            </a:bodyPr>
            <a:lstStyle/>
            <a:p>
              <a:r>
                <a:rPr lang="en-US" b="1">
                  <a:solidFill>
                    <a:srgbClr val="C00000"/>
                  </a:solidFill>
                  <a:latin typeface="Times New Roman" panose="02020603050405020304" pitchFamily="18" charset="0"/>
                  <a:cs typeface="Times New Roman" panose="02020603050405020304" pitchFamily="18" charset="0"/>
                </a:rPr>
                <a:t>Export</a:t>
              </a:r>
            </a:p>
          </p:txBody>
        </p:sp>
      </p:grpSp>
      <p:pic>
        <p:nvPicPr>
          <p:cNvPr id="39"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19601" y="2037608"/>
            <a:ext cx="3296826" cy="2782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1" name="Group 40"/>
          <p:cNvGrpSpPr/>
          <p:nvPr/>
        </p:nvGrpSpPr>
        <p:grpSpPr>
          <a:xfrm>
            <a:off x="7924802" y="3199119"/>
            <a:ext cx="2663685" cy="1868192"/>
            <a:chOff x="5001627" y="2383631"/>
            <a:chExt cx="1783348" cy="915357"/>
          </a:xfrm>
        </p:grpSpPr>
        <p:pic>
          <p:nvPicPr>
            <p:cNvPr id="43" name="Picture 42">
              <a:extLst>
                <a:ext uri="{FF2B5EF4-FFF2-40B4-BE49-F238E27FC236}">
                  <a16:creationId xmlns:a16="http://schemas.microsoft.com/office/drawing/2014/main" id="{4004E9CE-5E77-49D9-BC6E-F7213967ABD0}"/>
                </a:ext>
              </a:extLst>
            </p:cNvPr>
            <p:cNvPicPr>
              <a:picLocks noChangeAspect="1"/>
            </p:cNvPicPr>
            <p:nvPr/>
          </p:nvPicPr>
          <p:blipFill>
            <a:blip r:embed="rId4"/>
            <a:stretch>
              <a:fillRect/>
            </a:stretch>
          </p:blipFill>
          <p:spPr>
            <a:xfrm>
              <a:off x="5001627" y="2383631"/>
              <a:ext cx="1783348" cy="914400"/>
            </a:xfrm>
            <a:prstGeom prst="rect">
              <a:avLst/>
            </a:prstGeom>
          </p:spPr>
        </p:pic>
        <p:sp>
          <p:nvSpPr>
            <p:cNvPr id="44" name="TextBox 43"/>
            <p:cNvSpPr txBox="1"/>
            <p:nvPr/>
          </p:nvSpPr>
          <p:spPr>
            <a:xfrm>
              <a:off x="5568335" y="3118526"/>
              <a:ext cx="933153" cy="180462"/>
            </a:xfrm>
            <a:prstGeom prst="rect">
              <a:avLst/>
            </a:prstGeom>
            <a:noFill/>
          </p:spPr>
          <p:txBody>
            <a:bodyPr wrap="square" rtlCol="0">
              <a:spAutoFit/>
            </a:bodyPr>
            <a:lstStyle/>
            <a:p>
              <a:r>
                <a:rPr lang="en-US" b="1">
                  <a:solidFill>
                    <a:srgbClr val="0000FF"/>
                  </a:solidFill>
                  <a:latin typeface="Times New Roman" panose="02020603050405020304" pitchFamily="18" charset="0"/>
                  <a:cs typeface="Times New Roman" panose="02020603050405020304" pitchFamily="18" charset="0"/>
                </a:rPr>
                <a:t>Import</a:t>
              </a:r>
            </a:p>
          </p:txBody>
        </p:sp>
      </p:grpSp>
      <p:sp>
        <p:nvSpPr>
          <p:cNvPr id="47" name="Rounded Rectangle 46"/>
          <p:cNvSpPr/>
          <p:nvPr/>
        </p:nvSpPr>
        <p:spPr>
          <a:xfrm>
            <a:off x="2796210" y="843677"/>
            <a:ext cx="6930886" cy="573901"/>
          </a:xfrm>
          <a:prstGeom prst="roundRect">
            <a:avLst/>
          </a:prstGeom>
          <a:solidFill>
            <a:schemeClr val="accent6">
              <a:lumMod val="40000"/>
              <a:lumOff val="60000"/>
            </a:schemeClr>
          </a:solidFill>
          <a:ln>
            <a:noFill/>
          </a:ln>
          <a:effectLst>
            <a:innerShdw blurRad="63500" dist="50800" dir="2700000">
              <a:schemeClr val="accent3">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28"/>
          <p:cNvSpPr txBox="1"/>
          <p:nvPr/>
        </p:nvSpPr>
        <p:spPr>
          <a:xfrm>
            <a:off x="2917429" y="896541"/>
            <a:ext cx="6688448"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a:solidFill>
                  <a:srgbClr val="002060"/>
                </a:solidFill>
                <a:latin typeface="Times New Roman" pitchFamily="18" charset="0"/>
                <a:cs typeface="Times New Roman" pitchFamily="18" charset="0"/>
              </a:rPr>
              <a:t>TÔNG KIM NGẠCH XUẤT NHẬP HÀNG HÓA</a:t>
            </a:r>
          </a:p>
        </p:txBody>
      </p:sp>
      <p:sp>
        <p:nvSpPr>
          <p:cNvPr id="50" name="TextBox 49"/>
          <p:cNvSpPr txBox="1"/>
          <p:nvPr/>
        </p:nvSpPr>
        <p:spPr>
          <a:xfrm>
            <a:off x="2028652" y="5183326"/>
            <a:ext cx="2286001"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207,1 </a:t>
            </a:r>
            <a:r>
              <a:rPr lang="en-US" sz="2400" b="1" err="1">
                <a:solidFill>
                  <a:srgbClr val="C00000"/>
                </a:solidFill>
                <a:latin typeface="Times New Roman" panose="02020603050405020304" pitchFamily="18" charset="0"/>
                <a:cs typeface="Times New Roman" panose="02020603050405020304" pitchFamily="18" charset="0"/>
              </a:rPr>
              <a:t>triệu</a:t>
            </a:r>
            <a:r>
              <a:rPr lang="en-US" sz="2400" b="1">
                <a:solidFill>
                  <a:srgbClr val="C00000"/>
                </a:solidFill>
                <a:latin typeface="Times New Roman" panose="02020603050405020304" pitchFamily="18" charset="0"/>
                <a:cs typeface="Times New Roman" panose="02020603050405020304" pitchFamily="18" charset="0"/>
              </a:rPr>
              <a:t> USD</a:t>
            </a:r>
          </a:p>
          <a:p>
            <a:pPr algn="ctr"/>
            <a:r>
              <a:rPr lang="en-US" sz="2400" b="1">
                <a:solidFill>
                  <a:srgbClr val="C00000"/>
                </a:solidFill>
                <a:latin typeface="Times New Roman" panose="02020603050405020304" pitchFamily="18" charset="0"/>
                <a:cs typeface="Times New Roman" panose="02020603050405020304" pitchFamily="18" charset="0"/>
              </a:rPr>
              <a:t>    19,4%   </a:t>
            </a:r>
          </a:p>
        </p:txBody>
      </p:sp>
      <p:sp>
        <p:nvSpPr>
          <p:cNvPr id="51" name="Rounded Rectangle 50"/>
          <p:cNvSpPr/>
          <p:nvPr/>
        </p:nvSpPr>
        <p:spPr>
          <a:xfrm>
            <a:off x="1298713" y="2113867"/>
            <a:ext cx="2968487" cy="958062"/>
          </a:xfrm>
          <a:prstGeom prst="roundRect">
            <a:avLst/>
          </a:prstGeom>
          <a:solidFill>
            <a:schemeClr val="accent6">
              <a:lumMod val="40000"/>
              <a:lumOff val="60000"/>
            </a:schemeClr>
          </a:solidFill>
          <a:ln>
            <a:noFill/>
          </a:ln>
          <a:effectLst>
            <a:innerShdw blurRad="63500" dist="50800" dir="2700000">
              <a:schemeClr val="accent3">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p:cNvSpPr txBox="1"/>
          <p:nvPr/>
        </p:nvSpPr>
        <p:spPr>
          <a:xfrm>
            <a:off x="1402069" y="2326778"/>
            <a:ext cx="2899192" cy="461665"/>
          </a:xfrm>
          <a:prstGeom prst="rect">
            <a:avLst/>
          </a:prstGeom>
          <a:noFill/>
        </p:spPr>
        <p:txBody>
          <a:bodyPr wrap="square" rtlCol="0">
            <a:spAutoFit/>
          </a:bodyPr>
          <a:lstStyle/>
          <a:p>
            <a:r>
              <a:rPr lang="en-US" sz="2400" b="1" err="1">
                <a:solidFill>
                  <a:srgbClr val="002060"/>
                </a:solidFill>
                <a:latin typeface="Times New Roman" panose="02020603050405020304" pitchFamily="18" charset="0"/>
                <a:cs typeface="Times New Roman" panose="02020603050405020304" pitchFamily="18" charset="0"/>
              </a:rPr>
              <a:t>Xuất</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khẩu</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hàng</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hóa</a:t>
            </a:r>
            <a:endParaRPr lang="en-US" sz="2400" b="1">
              <a:solidFill>
                <a:srgbClr val="002060"/>
              </a:solidFill>
              <a:latin typeface="Times New Roman" panose="02020603050405020304" pitchFamily="18" charset="0"/>
              <a:cs typeface="Times New Roman" panose="02020603050405020304" pitchFamily="18" charset="0"/>
            </a:endParaRPr>
          </a:p>
        </p:txBody>
      </p:sp>
      <p:sp>
        <p:nvSpPr>
          <p:cNvPr id="63" name="Rounded Rectangle 62"/>
          <p:cNvSpPr/>
          <p:nvPr/>
        </p:nvSpPr>
        <p:spPr>
          <a:xfrm>
            <a:off x="7938939" y="2113867"/>
            <a:ext cx="2850991" cy="958061"/>
          </a:xfrm>
          <a:prstGeom prst="roundRect">
            <a:avLst/>
          </a:prstGeom>
          <a:solidFill>
            <a:schemeClr val="accent6">
              <a:lumMod val="40000"/>
              <a:lumOff val="60000"/>
            </a:schemeClr>
          </a:solidFill>
          <a:ln>
            <a:noFill/>
          </a:ln>
          <a:effectLst>
            <a:innerShdw blurRad="63500" dist="50800" dir="2700000">
              <a:schemeClr val="accent3">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63"/>
          <p:cNvSpPr txBox="1"/>
          <p:nvPr/>
        </p:nvSpPr>
        <p:spPr>
          <a:xfrm>
            <a:off x="7955334" y="2323132"/>
            <a:ext cx="3063387" cy="461665"/>
          </a:xfrm>
          <a:prstGeom prst="rect">
            <a:avLst/>
          </a:prstGeom>
          <a:noFill/>
        </p:spPr>
        <p:txBody>
          <a:bodyPr wrap="square" rtlCol="0">
            <a:spAutoFit/>
          </a:bodyPr>
          <a:lstStyle/>
          <a:p>
            <a:r>
              <a:rPr lang="en-US" sz="2400" b="1" err="1">
                <a:solidFill>
                  <a:srgbClr val="002060"/>
                </a:solidFill>
                <a:latin typeface="Times New Roman" panose="02020603050405020304" pitchFamily="18" charset="0"/>
                <a:cs typeface="Times New Roman" panose="02020603050405020304" pitchFamily="18" charset="0"/>
              </a:rPr>
              <a:t>Nhập</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khẩu</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hàng</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hóa</a:t>
            </a:r>
            <a:endParaRPr lang="en-US" sz="2400" b="1">
              <a:solidFill>
                <a:srgbClr val="002060"/>
              </a:solidFill>
              <a:latin typeface="Times New Roman" panose="02020603050405020304" pitchFamily="18" charset="0"/>
              <a:cs typeface="Times New Roman" panose="02020603050405020304" pitchFamily="18" charset="0"/>
            </a:endParaRPr>
          </a:p>
        </p:txBody>
      </p:sp>
      <p:sp>
        <p:nvSpPr>
          <p:cNvPr id="65" name="TextBox 64"/>
          <p:cNvSpPr txBox="1"/>
          <p:nvPr/>
        </p:nvSpPr>
        <p:spPr>
          <a:xfrm>
            <a:off x="7938940" y="5156217"/>
            <a:ext cx="2286001"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54,4 </a:t>
            </a:r>
            <a:r>
              <a:rPr lang="en-US" sz="2400" b="1" err="1">
                <a:solidFill>
                  <a:srgbClr val="C00000"/>
                </a:solidFill>
                <a:latin typeface="Times New Roman" panose="02020603050405020304" pitchFamily="18" charset="0"/>
                <a:cs typeface="Times New Roman" panose="02020603050405020304" pitchFamily="18" charset="0"/>
              </a:rPr>
              <a:t>triệu</a:t>
            </a:r>
            <a:r>
              <a:rPr lang="en-US" sz="2400" b="1">
                <a:solidFill>
                  <a:srgbClr val="C00000"/>
                </a:solidFill>
                <a:latin typeface="Times New Roman" panose="02020603050405020304" pitchFamily="18" charset="0"/>
                <a:cs typeface="Times New Roman" panose="02020603050405020304" pitchFamily="18" charset="0"/>
              </a:rPr>
              <a:t> USD</a:t>
            </a:r>
          </a:p>
          <a:p>
            <a:pPr algn="ctr"/>
            <a:r>
              <a:rPr lang="en-US" sz="2400" b="1">
                <a:solidFill>
                  <a:srgbClr val="C00000"/>
                </a:solidFill>
                <a:latin typeface="Times New Roman" panose="02020603050405020304" pitchFamily="18" charset="0"/>
                <a:cs typeface="Times New Roman" panose="02020603050405020304" pitchFamily="18" charset="0"/>
              </a:rPr>
              <a:t>       14,6%    </a:t>
            </a:r>
          </a:p>
        </p:txBody>
      </p:sp>
      <p:sp>
        <p:nvSpPr>
          <p:cNvPr id="66" name="Arrow: Down 59">
            <a:extLst>
              <a:ext uri="{FF2B5EF4-FFF2-40B4-BE49-F238E27FC236}">
                <a16:creationId xmlns:a16="http://schemas.microsoft.com/office/drawing/2014/main" id="{76FC2223-CBDC-4B1C-A8C6-0DBB61B65684}"/>
              </a:ext>
            </a:extLst>
          </p:cNvPr>
          <p:cNvSpPr/>
          <p:nvPr/>
        </p:nvSpPr>
        <p:spPr>
          <a:xfrm>
            <a:off x="8663594" y="5609577"/>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67" name="TextBox 66"/>
          <p:cNvSpPr txBox="1"/>
          <p:nvPr/>
        </p:nvSpPr>
        <p:spPr>
          <a:xfrm>
            <a:off x="4002295" y="1451048"/>
            <a:ext cx="4890803" cy="523220"/>
          </a:xfrm>
          <a:prstGeom prst="rect">
            <a:avLst/>
          </a:prstGeom>
          <a:noFill/>
        </p:spPr>
        <p:txBody>
          <a:bodyPr wrap="square" rtlCol="0">
            <a:spAutoFit/>
          </a:bodyPr>
          <a:lstStyle/>
          <a:p>
            <a:pPr algn="ctr"/>
            <a:r>
              <a:rPr lang="en-US" sz="2800" b="1">
                <a:solidFill>
                  <a:srgbClr val="C00000"/>
                </a:solidFill>
                <a:latin typeface="Times New Roman" panose="02020603050405020304" pitchFamily="18" charset="0"/>
                <a:cs typeface="Times New Roman" panose="02020603050405020304" pitchFamily="18" charset="0"/>
              </a:rPr>
              <a:t>261,5 </a:t>
            </a:r>
            <a:r>
              <a:rPr lang="en-US" sz="2800" b="1" err="1">
                <a:solidFill>
                  <a:srgbClr val="C00000"/>
                </a:solidFill>
                <a:latin typeface="Times New Roman" panose="02020603050405020304" pitchFamily="18" charset="0"/>
                <a:cs typeface="Times New Roman" panose="02020603050405020304" pitchFamily="18" charset="0"/>
              </a:rPr>
              <a:t>triệu</a:t>
            </a:r>
            <a:r>
              <a:rPr lang="en-US" sz="2800" b="1">
                <a:solidFill>
                  <a:srgbClr val="C00000"/>
                </a:solidFill>
                <a:latin typeface="Times New Roman" panose="02020603050405020304" pitchFamily="18" charset="0"/>
                <a:cs typeface="Times New Roman" panose="02020603050405020304" pitchFamily="18" charset="0"/>
              </a:rPr>
              <a:t> USD           18,4%   </a:t>
            </a:r>
          </a:p>
        </p:txBody>
      </p:sp>
      <p:sp>
        <p:nvSpPr>
          <p:cNvPr id="8" name="TextBox 7">
            <a:extLst>
              <a:ext uri="{FF2B5EF4-FFF2-40B4-BE49-F238E27FC236}">
                <a16:creationId xmlns:a16="http://schemas.microsoft.com/office/drawing/2014/main" id="{29B4CA7B-9B25-D494-D70E-148AB1A97984}"/>
              </a:ext>
            </a:extLst>
          </p:cNvPr>
          <p:cNvSpPr txBox="1"/>
          <p:nvPr/>
        </p:nvSpPr>
        <p:spPr>
          <a:xfrm>
            <a:off x="1371601" y="168044"/>
            <a:ext cx="6096000" cy="584775"/>
          </a:xfrm>
          <a:prstGeom prst="rect">
            <a:avLst/>
          </a:prstGeom>
          <a:noFill/>
        </p:spPr>
        <p:txBody>
          <a:bodyPr wrap="square">
            <a:spAutoFit/>
          </a:bodyPr>
          <a:lstStyle/>
          <a:p>
            <a:pPr indent="-457200">
              <a:buFont typeface="Wingdings" panose="05000000000000000000" pitchFamily="2" charset="2"/>
              <a:buChar char="Ø"/>
            </a:pPr>
            <a:r>
              <a:rPr lang="de-DE" sz="3200" b="1">
                <a:latin typeface="Times New Roman" panose="02020603050405020304" pitchFamily="18" charset="0"/>
                <a:cs typeface="Times New Roman" panose="02020603050405020304" pitchFamily="18" charset="0"/>
              </a:rPr>
              <a:t>Xuất, nhập khẩu hàng hóa </a:t>
            </a:r>
            <a:endParaRPr lang="en-US" sz="3200" b="1" kern="0" spc="-10">
              <a:solidFill>
                <a:prstClr val="black"/>
              </a:solidFill>
              <a:ea typeface="Times New Roman" panose="02020603050405020304" pitchFamily="18" charset="0"/>
            </a:endParaRPr>
          </a:p>
        </p:txBody>
      </p:sp>
      <p:sp>
        <p:nvSpPr>
          <p:cNvPr id="2" name="Arrow: Down 59">
            <a:extLst>
              <a:ext uri="{FF2B5EF4-FFF2-40B4-BE49-F238E27FC236}">
                <a16:creationId xmlns:a16="http://schemas.microsoft.com/office/drawing/2014/main" id="{5CA64A82-F21B-62CF-B485-0F935AE7046A}"/>
              </a:ext>
            </a:extLst>
          </p:cNvPr>
          <p:cNvSpPr/>
          <p:nvPr/>
        </p:nvSpPr>
        <p:spPr>
          <a:xfrm>
            <a:off x="7352848" y="1588971"/>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244728593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9B4CA7B-9B25-D494-D70E-148AB1A97984}"/>
              </a:ext>
            </a:extLst>
          </p:cNvPr>
          <p:cNvSpPr txBox="1"/>
          <p:nvPr/>
        </p:nvSpPr>
        <p:spPr>
          <a:xfrm>
            <a:off x="1228990" y="260323"/>
            <a:ext cx="6096000" cy="584775"/>
          </a:xfrm>
          <a:prstGeom prst="rect">
            <a:avLst/>
          </a:prstGeom>
          <a:noFill/>
        </p:spPr>
        <p:txBody>
          <a:bodyPr wrap="square">
            <a:spAutoFit/>
          </a:bodyPr>
          <a:lstStyle/>
          <a:p>
            <a:pPr indent="-457200">
              <a:buFont typeface="Wingdings" panose="05000000000000000000" pitchFamily="2" charset="2"/>
              <a:buChar char="Ø"/>
            </a:pPr>
            <a:r>
              <a:rPr lang="de-DE" sz="3200" b="1">
                <a:latin typeface="Times New Roman" panose="02020603050405020304" pitchFamily="18" charset="0"/>
                <a:cs typeface="Times New Roman" panose="02020603050405020304" pitchFamily="18" charset="0"/>
              </a:rPr>
              <a:t>Xuất khẩu hàng hóa </a:t>
            </a:r>
            <a:endParaRPr lang="en-US" sz="3200" b="1" kern="0" spc="-10">
              <a:solidFill>
                <a:prstClr val="black"/>
              </a:solidFill>
              <a:ea typeface="Times New Roman" panose="02020603050405020304" pitchFamily="18" charset="0"/>
            </a:endParaRPr>
          </a:p>
        </p:txBody>
      </p:sp>
      <p:pic>
        <p:nvPicPr>
          <p:cNvPr id="7" name="Picture 6" descr="A large red shipping container&#10;&#10;Description automatically generated with low confidence">
            <a:extLst>
              <a:ext uri="{FF2B5EF4-FFF2-40B4-BE49-F238E27FC236}">
                <a16:creationId xmlns:a16="http://schemas.microsoft.com/office/drawing/2014/main" id="{455CD825-D54D-FCEA-81AF-11182774D5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10151" y="1079990"/>
            <a:ext cx="3913609" cy="2233943"/>
          </a:xfrm>
          <a:prstGeom prst="rect">
            <a:avLst/>
          </a:prstGeom>
        </p:spPr>
      </p:pic>
      <p:pic>
        <p:nvPicPr>
          <p:cNvPr id="9" name="Picture 8">
            <a:extLst>
              <a:ext uri="{FF2B5EF4-FFF2-40B4-BE49-F238E27FC236}">
                <a16:creationId xmlns:a16="http://schemas.microsoft.com/office/drawing/2014/main" id="{7246F3BF-F456-CF2C-6AA7-82B046A0EB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60702" y="3882432"/>
            <a:ext cx="3863058" cy="2505617"/>
          </a:xfrm>
          <a:prstGeom prst="rect">
            <a:avLst/>
          </a:prstGeom>
        </p:spPr>
      </p:pic>
      <p:pic>
        <p:nvPicPr>
          <p:cNvPr id="10" name="Picture 9" descr="Table&#10;&#10;Description automatically generated">
            <a:extLst>
              <a:ext uri="{FF2B5EF4-FFF2-40B4-BE49-F238E27FC236}">
                <a16:creationId xmlns:a16="http://schemas.microsoft.com/office/drawing/2014/main" id="{5D8CD86A-3AD6-5D82-7994-52B1EE234C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8035" y="815195"/>
            <a:ext cx="6609470" cy="5968418"/>
          </a:xfrm>
          <a:prstGeom prst="rect">
            <a:avLst/>
          </a:prstGeom>
        </p:spPr>
      </p:pic>
    </p:spTree>
    <p:extLst>
      <p:ext uri="{BB962C8B-B14F-4D97-AF65-F5344CB8AC3E}">
        <p14:creationId xmlns:p14="http://schemas.microsoft.com/office/powerpoint/2010/main" val="30361347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02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FF705920-E1B4-B4D0-9EA4-A27AA5761577}"/>
              </a:ext>
            </a:extLst>
          </p:cNvPr>
          <p:cNvCxnSpPr>
            <a:cxnSpLocks/>
          </p:cNvCxnSpPr>
          <p:nvPr/>
        </p:nvCxnSpPr>
        <p:spPr>
          <a:xfrm>
            <a:off x="777362" y="524236"/>
            <a:ext cx="8349860"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1DC26C3-E6F4-C27A-8624-3A65D81B6008}"/>
              </a:ext>
            </a:extLst>
          </p:cNvPr>
          <p:cNvSpPr/>
          <p:nvPr/>
        </p:nvSpPr>
        <p:spPr>
          <a:xfrm>
            <a:off x="1119325" y="640147"/>
            <a:ext cx="5202322"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 Thương mại, dịch vụ, tài chính</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120942210"/>
              </p:ext>
            </p:extLst>
          </p:nvPr>
        </p:nvGraphicFramePr>
        <p:xfrm>
          <a:off x="279633" y="1380481"/>
          <a:ext cx="6573352" cy="3177741"/>
        </p:xfrm>
        <a:graphic>
          <a:graphicData uri="http://schemas.openxmlformats.org/drawingml/2006/table">
            <a:tbl>
              <a:tblPr firstRow="1" bandRow="1"/>
              <a:tblGrid>
                <a:gridCol w="6573352">
                  <a:extLst>
                    <a:ext uri="{9D8B030D-6E8A-4147-A177-3AD203B41FA5}">
                      <a16:colId xmlns:a16="http://schemas.microsoft.com/office/drawing/2014/main" val="3655493598"/>
                    </a:ext>
                  </a:extLst>
                </a:gridCol>
              </a:tblGrid>
              <a:tr h="228968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1800" b="0" kern="1200">
                          <a:solidFill>
                            <a:schemeClr val="dk1"/>
                          </a:solidFill>
                          <a:effectLst/>
                          <a:latin typeface="Times New Roman" panose="02020603050405020304" pitchFamily="18" charset="0"/>
                          <a:ea typeface="+mn-ea"/>
                          <a:cs typeface="Times New Roman" panose="02020603050405020304" pitchFamily="18" charset="0"/>
                        </a:rPr>
                        <a:t>Du lịch: Đã tổ chức Hội nghị Quảng bá, xúc tiến du lịch giữa Bình Định và TP Hồ Chí Min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 Ký kết chương trình kích cầu du lịch Bình Định năm 2023 với VietnamAirlines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 Phối hợp cùng Viettravel nghiên cứu, xây dựng sản phẩm du lịch trên đầm Thị Nại</a:t>
                      </a:r>
                      <a:endParaRPr lang="en-US" sz="18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 </a:t>
                      </a:r>
                      <a:r>
                        <a:rPr lang="en-US" sz="1800" b="0" kern="1200">
                          <a:solidFill>
                            <a:schemeClr val="dk1"/>
                          </a:solidFill>
                          <a:effectLst/>
                          <a:latin typeface="Times New Roman" panose="02020603050405020304" pitchFamily="18" charset="0"/>
                          <a:ea typeface="+mn-ea"/>
                          <a:cs typeface="Times New Roman" panose="02020603050405020304" pitchFamily="18" charset="0"/>
                        </a:rPr>
                        <a:t>Lũy kế 2 tháng đầu năm, ngành </a:t>
                      </a:r>
                      <a:r>
                        <a:rPr lang="vi-VN" sz="1800" b="0" kern="1200">
                          <a:solidFill>
                            <a:schemeClr val="dk1"/>
                          </a:solidFill>
                          <a:effectLst/>
                          <a:latin typeface="Times New Roman" panose="02020603050405020304" pitchFamily="18" charset="0"/>
                          <a:ea typeface="+mn-ea"/>
                          <a:cs typeface="Times New Roman" panose="02020603050405020304" pitchFamily="18" charset="0"/>
                        </a:rPr>
                        <a:t>d</a:t>
                      </a:r>
                      <a:r>
                        <a:rPr lang="en-US" sz="1800" b="0" kern="1200">
                          <a:solidFill>
                            <a:schemeClr val="dk1"/>
                          </a:solidFill>
                          <a:effectLst/>
                          <a:latin typeface="Times New Roman" panose="02020603050405020304" pitchFamily="18" charset="0"/>
                          <a:ea typeface="+mn-ea"/>
                          <a:cs typeface="Times New Roman" panose="02020603050405020304" pitchFamily="18" charset="0"/>
                        </a:rPr>
                        <a:t>u lịch ước đón được 954.130 lượt khách, tăng 37,6% so với cùng kỳ</a:t>
                      </a: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0406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0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5" name="Picture 4" descr="A group of people holding certificates&#10;&#10;Description automatically generated with medium confidence">
            <a:extLst>
              <a:ext uri="{FF2B5EF4-FFF2-40B4-BE49-F238E27FC236}">
                <a16:creationId xmlns:a16="http://schemas.microsoft.com/office/drawing/2014/main" id="{A3137C45-8C15-1EFE-826B-99FC6F8CE5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30262" y="1092562"/>
            <a:ext cx="4557428" cy="2693741"/>
          </a:xfrm>
          <a:prstGeom prst="rect">
            <a:avLst/>
          </a:prstGeom>
        </p:spPr>
      </p:pic>
      <p:pic>
        <p:nvPicPr>
          <p:cNvPr id="9" name="Picture 8" descr="A picture containing text, person&#10;&#10;Description automatically generated">
            <a:extLst>
              <a:ext uri="{FF2B5EF4-FFF2-40B4-BE49-F238E27FC236}">
                <a16:creationId xmlns:a16="http://schemas.microsoft.com/office/drawing/2014/main" id="{812C70B2-E296-1A3A-3ED3-1427327683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30262" y="4266842"/>
            <a:ext cx="4504828" cy="2514539"/>
          </a:xfrm>
          <a:prstGeom prst="rect">
            <a:avLst/>
          </a:prstGeom>
        </p:spPr>
      </p:pic>
      <p:pic>
        <p:nvPicPr>
          <p:cNvPr id="11" name="Picture 10" descr="A group of people standing on a stage&#10;&#10;Description automatically generated with medium confidence">
            <a:extLst>
              <a:ext uri="{FF2B5EF4-FFF2-40B4-BE49-F238E27FC236}">
                <a16:creationId xmlns:a16="http://schemas.microsoft.com/office/drawing/2014/main" id="{52E1C36C-0AFE-D81A-CF7D-27AE89FB4FB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9325" y="4266842"/>
            <a:ext cx="4773336" cy="2514539"/>
          </a:xfrm>
          <a:prstGeom prst="rect">
            <a:avLst/>
          </a:prstGeom>
        </p:spPr>
      </p:pic>
    </p:spTree>
    <p:extLst>
      <p:ext uri="{BB962C8B-B14F-4D97-AF65-F5344CB8AC3E}">
        <p14:creationId xmlns:p14="http://schemas.microsoft.com/office/powerpoint/2010/main" val="1783682046"/>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200017" y="3390629"/>
            <a:ext cx="1364668" cy="14298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895505"/>
            <a:ext cx="4774245" cy="14936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5542875" y="895506"/>
            <a:ext cx="4774245" cy="830997"/>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nội địa</a:t>
            </a:r>
          </a:p>
          <a:p>
            <a:pPr algn="ctr"/>
            <a:r>
              <a:rPr lang="en-US" b="1">
                <a:solidFill>
                  <a:srgbClr val="002060"/>
                </a:solidFill>
                <a:latin typeface="Times New Roman" panose="02020603050405020304" pitchFamily="18" charset="0"/>
                <a:cs typeface="Times New Roman" panose="02020603050405020304" pitchFamily="18" charset="0"/>
              </a:rPr>
              <a:t>(trừ tiền SDĐ, SXKT và lợi nhuận được chia)</a:t>
            </a:r>
            <a:endParaRPr lang="en-US" sz="2800" b="1">
              <a:solidFill>
                <a:srgbClr val="002060"/>
              </a:solidFill>
              <a:latin typeface="Times New Roman" panose="02020603050405020304" pitchFamily="18" charset="0"/>
              <a:cs typeface="Times New Roman" panose="02020603050405020304" pitchFamily="18" charset="0"/>
            </a:endParaRPr>
          </a:p>
        </p:txBody>
      </p:sp>
      <p:sp>
        <p:nvSpPr>
          <p:cNvPr id="720" name="TextBox 719"/>
          <p:cNvSpPr txBox="1"/>
          <p:nvPr/>
        </p:nvSpPr>
        <p:spPr>
          <a:xfrm>
            <a:off x="6778501" y="1557466"/>
            <a:ext cx="2179925"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1.221,8 tỷ đồng</a:t>
            </a:r>
          </a:p>
          <a:p>
            <a:pPr algn="ctr"/>
            <a:r>
              <a:rPr lang="en-US" sz="2400" b="1">
                <a:solidFill>
                  <a:srgbClr val="C00000"/>
                </a:solidFill>
                <a:latin typeface="Times New Roman" panose="02020603050405020304" pitchFamily="18" charset="0"/>
                <a:cs typeface="Times New Roman" panose="02020603050405020304" pitchFamily="18" charset="0"/>
              </a:rPr>
              <a:t>     7,8%</a:t>
            </a:r>
          </a:p>
        </p:txBody>
      </p:sp>
      <p:sp>
        <p:nvSpPr>
          <p:cNvPr id="724" name="Rectangle 723"/>
          <p:cNvSpPr/>
          <p:nvPr/>
        </p:nvSpPr>
        <p:spPr>
          <a:xfrm>
            <a:off x="5648335" y="2687365"/>
            <a:ext cx="4774245" cy="122129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6790036" y="2690519"/>
            <a:ext cx="2671214"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hu tiền sử dụng đất</a:t>
            </a:r>
          </a:p>
        </p:txBody>
      </p:sp>
      <p:sp>
        <p:nvSpPr>
          <p:cNvPr id="726" name="TextBox 725"/>
          <p:cNvSpPr txBox="1"/>
          <p:nvPr/>
        </p:nvSpPr>
        <p:spPr>
          <a:xfrm>
            <a:off x="7005916" y="3077662"/>
            <a:ext cx="2358201"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279,6 tỷ đồng    79,6%</a:t>
            </a:r>
          </a:p>
        </p:txBody>
      </p:sp>
      <p:sp>
        <p:nvSpPr>
          <p:cNvPr id="730" name="Arrow: Down 59">
            <a:extLst>
              <a:ext uri="{FF2B5EF4-FFF2-40B4-BE49-F238E27FC236}">
                <a16:creationId xmlns:a16="http://schemas.microsoft.com/office/drawing/2014/main" id="{76FC2223-CBDC-4B1C-A8C6-0DBB61B65684}"/>
              </a:ext>
            </a:extLst>
          </p:cNvPr>
          <p:cNvSpPr/>
          <p:nvPr/>
        </p:nvSpPr>
        <p:spPr>
          <a:xfrm>
            <a:off x="7465358" y="3517848"/>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2" name="Rectangle 1">
            <a:extLst>
              <a:ext uri="{FF2B5EF4-FFF2-40B4-BE49-F238E27FC236}">
                <a16:creationId xmlns:a16="http://schemas.microsoft.com/office/drawing/2014/main" id="{80607D77-8D89-B2B8-17A1-5EC409702721}"/>
              </a:ext>
            </a:extLst>
          </p:cNvPr>
          <p:cNvSpPr/>
          <p:nvPr/>
        </p:nvSpPr>
        <p:spPr>
          <a:xfrm>
            <a:off x="1710858" y="2060553"/>
            <a:ext cx="2450207" cy="1780728"/>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1437113" y="2975131"/>
            <a:ext cx="2868118"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1.573,1 tỷ đồng</a:t>
            </a:r>
          </a:p>
          <a:p>
            <a:pPr algn="ctr"/>
            <a:r>
              <a:rPr lang="en-US" b="1">
                <a:solidFill>
                  <a:srgbClr val="C0000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42,3%</a:t>
            </a:r>
            <a:endParaRPr lang="en-US" b="1">
              <a:solidFill>
                <a:srgbClr val="C00000"/>
              </a:solidFill>
              <a:latin typeface="Times New Roman" panose="02020603050405020304" pitchFamily="18" charset="0"/>
              <a:cs typeface="Times New Roman" panose="02020603050405020304" pitchFamily="18" charset="0"/>
            </a:endParaRPr>
          </a:p>
        </p:txBody>
      </p:sp>
      <p:sp>
        <p:nvSpPr>
          <p:cNvPr id="12" name="TextBox 11">
            <a:extLst>
              <a:ext uri="{FF2B5EF4-FFF2-40B4-BE49-F238E27FC236}">
                <a16:creationId xmlns:a16="http://schemas.microsoft.com/office/drawing/2014/main" id="{850931EF-4279-23FD-6428-18C12049025E}"/>
              </a:ext>
            </a:extLst>
          </p:cNvPr>
          <p:cNvSpPr txBox="1"/>
          <p:nvPr/>
        </p:nvSpPr>
        <p:spPr>
          <a:xfrm>
            <a:off x="1545286" y="2148215"/>
            <a:ext cx="2522462" cy="830997"/>
          </a:xfrm>
          <a:prstGeom prst="rect">
            <a:avLst/>
          </a:prstGeom>
          <a:noFill/>
        </p:spPr>
        <p:txBody>
          <a:bodyPr wrap="square" rtlCol="0">
            <a:spAutoFit/>
          </a:bodyPr>
          <a:lstStyle/>
          <a:p>
            <a:pPr algn="ctr"/>
            <a:r>
              <a:rPr lang="en-US" sz="2400" b="1">
                <a:solidFill>
                  <a:srgbClr val="002060"/>
                </a:solidFill>
                <a:latin typeface="Times New Roman" panose="02020603050405020304" pitchFamily="18" charset="0"/>
                <a:cs typeface="Times New Roman" panose="02020603050405020304" pitchFamily="18" charset="0"/>
              </a:rPr>
              <a:t>Tổng thu ngân sách nhà nước</a:t>
            </a:r>
          </a:p>
        </p:txBody>
      </p:sp>
      <p:sp>
        <p:nvSpPr>
          <p:cNvPr id="13" name="Arrow: Down 59">
            <a:extLst>
              <a:ext uri="{FF2B5EF4-FFF2-40B4-BE49-F238E27FC236}">
                <a16:creationId xmlns:a16="http://schemas.microsoft.com/office/drawing/2014/main" id="{CFB1DF66-0E98-FC84-B508-AAB8AC25D4B3}"/>
              </a:ext>
            </a:extLst>
          </p:cNvPr>
          <p:cNvSpPr/>
          <p:nvPr/>
        </p:nvSpPr>
        <p:spPr>
          <a:xfrm>
            <a:off x="2347597" y="3476186"/>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4" name="Rectangle 13">
            <a:extLst>
              <a:ext uri="{FF2B5EF4-FFF2-40B4-BE49-F238E27FC236}">
                <a16:creationId xmlns:a16="http://schemas.microsoft.com/office/drawing/2014/main" id="{2FB61F8A-9A24-43C5-EEAD-699E1478B087}"/>
              </a:ext>
            </a:extLst>
          </p:cNvPr>
          <p:cNvSpPr/>
          <p:nvPr/>
        </p:nvSpPr>
        <p:spPr>
          <a:xfrm>
            <a:off x="5648335" y="4097789"/>
            <a:ext cx="4733246"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73486" y="4154207"/>
            <a:ext cx="2671214" cy="523220"/>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XNK</a:t>
            </a:r>
          </a:p>
        </p:txBody>
      </p:sp>
      <p:sp>
        <p:nvSpPr>
          <p:cNvPr id="16" name="TextBox 15">
            <a:extLst>
              <a:ext uri="{FF2B5EF4-FFF2-40B4-BE49-F238E27FC236}">
                <a16:creationId xmlns:a16="http://schemas.microsoft.com/office/drawing/2014/main" id="{CD1FFBD1-4EFA-ED54-8F81-E3C9559069D4}"/>
              </a:ext>
            </a:extLst>
          </p:cNvPr>
          <p:cNvSpPr txBox="1"/>
          <p:nvPr/>
        </p:nvSpPr>
        <p:spPr>
          <a:xfrm>
            <a:off x="7035680" y="4603535"/>
            <a:ext cx="2179925"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38,5 tỷ đồng</a:t>
            </a:r>
          </a:p>
          <a:p>
            <a:pPr algn="ctr"/>
            <a:r>
              <a:rPr lang="en-US" sz="2400" b="1">
                <a:solidFill>
                  <a:srgbClr val="C00000"/>
                </a:solidFill>
                <a:latin typeface="Times New Roman" panose="02020603050405020304" pitchFamily="18" charset="0"/>
                <a:cs typeface="Times New Roman" panose="02020603050405020304" pitchFamily="18" charset="0"/>
              </a:rPr>
              <a:t>     80,8%</a:t>
            </a:r>
          </a:p>
        </p:txBody>
      </p:sp>
      <p:sp>
        <p:nvSpPr>
          <p:cNvPr id="19" name="Arrow: Down 18">
            <a:extLst>
              <a:ext uri="{FF2B5EF4-FFF2-40B4-BE49-F238E27FC236}">
                <a16:creationId xmlns:a16="http://schemas.microsoft.com/office/drawing/2014/main" id="{122A9A1C-AFFE-3821-B2D0-B1BF037AF2EA}"/>
              </a:ext>
            </a:extLst>
          </p:cNvPr>
          <p:cNvSpPr/>
          <p:nvPr/>
        </p:nvSpPr>
        <p:spPr>
          <a:xfrm rot="10800000">
            <a:off x="7222221" y="2058666"/>
            <a:ext cx="357889" cy="24155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20" name="Arrow: Down 19">
            <a:extLst>
              <a:ext uri="{FF2B5EF4-FFF2-40B4-BE49-F238E27FC236}">
                <a16:creationId xmlns:a16="http://schemas.microsoft.com/office/drawing/2014/main" id="{9EFE970E-0B98-B556-3A4B-E26C7CAD10CA}"/>
              </a:ext>
            </a:extLst>
          </p:cNvPr>
          <p:cNvSpPr/>
          <p:nvPr/>
        </p:nvSpPr>
        <p:spPr>
          <a:xfrm>
            <a:off x="7465358" y="5093761"/>
            <a:ext cx="357889" cy="24155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185436" y="1557466"/>
            <a:ext cx="1357439" cy="12832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208573" y="3078068"/>
            <a:ext cx="13443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7706305-8775-399E-5BBA-BC4870FA15F6}"/>
              </a:ext>
            </a:extLst>
          </p:cNvPr>
          <p:cNvSpPr txBox="1"/>
          <p:nvPr/>
        </p:nvSpPr>
        <p:spPr>
          <a:xfrm>
            <a:off x="1108605" y="170743"/>
            <a:ext cx="7511100" cy="584775"/>
          </a:xfrm>
          <a:prstGeom prst="rect">
            <a:avLst/>
          </a:prstGeom>
          <a:noFill/>
        </p:spPr>
        <p:txBody>
          <a:bodyPr wrap="square">
            <a:spAutoFit/>
          </a:bodyPr>
          <a:lstStyle/>
          <a:p>
            <a:pPr indent="-457200">
              <a:buFont typeface="Wingdings" panose="05000000000000000000" pitchFamily="2" charset="2"/>
              <a:buChar char="Ø"/>
            </a:pPr>
            <a:r>
              <a:rPr lang="de-DE" sz="3200" b="1">
                <a:latin typeface="Times New Roman" panose="02020603050405020304" pitchFamily="18" charset="0"/>
                <a:cs typeface="Times New Roman" panose="02020603050405020304" pitchFamily="18" charset="0"/>
              </a:rPr>
              <a:t>Thu, chi ngân sách nhà nước</a:t>
            </a:r>
            <a:r>
              <a:rPr lang="vi-VN" sz="3200" b="1">
                <a:latin typeface="Times New Roman" panose="02020603050405020304" pitchFamily="18" charset="0"/>
                <a:cs typeface="Times New Roman" panose="02020603050405020304" pitchFamily="18" charset="0"/>
              </a:rPr>
              <a:t> của tỉnh</a:t>
            </a:r>
            <a:endParaRPr lang="en-US" sz="3200" b="1" kern="0" spc="-10">
              <a:solidFill>
                <a:prstClr val="black"/>
              </a:solidFill>
              <a:ea typeface="Times New Roman" panose="02020603050405020304" pitchFamily="18" charset="0"/>
            </a:endParaRPr>
          </a:p>
        </p:txBody>
      </p:sp>
      <p:sp>
        <p:nvSpPr>
          <p:cNvPr id="4" name="Rectangle 3">
            <a:extLst>
              <a:ext uri="{FF2B5EF4-FFF2-40B4-BE49-F238E27FC236}">
                <a16:creationId xmlns:a16="http://schemas.microsoft.com/office/drawing/2014/main" id="{BBC7EEBC-AFA3-C4AC-D803-2EB717E2AF16}"/>
              </a:ext>
            </a:extLst>
          </p:cNvPr>
          <p:cNvSpPr/>
          <p:nvPr/>
        </p:nvSpPr>
        <p:spPr>
          <a:xfrm>
            <a:off x="1597810" y="5615736"/>
            <a:ext cx="8783771"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1607365" y="5906358"/>
            <a:ext cx="8709756" cy="830997"/>
          </a:xfrm>
          <a:prstGeom prst="rect">
            <a:avLst/>
          </a:prstGeom>
          <a:noFill/>
        </p:spPr>
        <p:txBody>
          <a:bodyPr wrap="square" rtlCol="0">
            <a:spAutoFit/>
          </a:bodyPr>
          <a:lstStyle/>
          <a:p>
            <a:r>
              <a:rPr lang="en-US" sz="2400" b="1">
                <a:solidFill>
                  <a:srgbClr val="002060"/>
                </a:solidFill>
                <a:latin typeface="Times New Roman" panose="02020603050405020304" pitchFamily="18" charset="0"/>
                <a:cs typeface="Times New Roman" panose="02020603050405020304" pitchFamily="18" charset="0"/>
              </a:rPr>
              <a:t>Tổng chi ngân sách nhà nước: </a:t>
            </a:r>
            <a:r>
              <a:rPr lang="en-US" sz="2400" b="1">
                <a:solidFill>
                  <a:srgbClr val="C00000"/>
                </a:solidFill>
                <a:latin typeface="Times New Roman" panose="02020603050405020304" pitchFamily="18" charset="0"/>
                <a:cs typeface="Times New Roman" panose="02020603050405020304" pitchFamily="18" charset="0"/>
              </a:rPr>
              <a:t>3.015,1 tỷ đồng            16,1%</a:t>
            </a:r>
          </a:p>
          <a:p>
            <a:pPr algn="ctr"/>
            <a:r>
              <a:rPr lang="en-US" sz="2400" b="1">
                <a:solidFill>
                  <a:srgbClr val="002060"/>
                </a:solidFill>
                <a:latin typeface="Times New Roman" panose="02020603050405020304" pitchFamily="18" charset="0"/>
                <a:cs typeface="Times New Roman" panose="02020603050405020304" pitchFamily="18" charset="0"/>
              </a:rPr>
              <a:t> </a:t>
            </a:r>
          </a:p>
        </p:txBody>
      </p:sp>
      <p:sp>
        <p:nvSpPr>
          <p:cNvPr id="7" name="Arrow: Down 6">
            <a:extLst>
              <a:ext uri="{FF2B5EF4-FFF2-40B4-BE49-F238E27FC236}">
                <a16:creationId xmlns:a16="http://schemas.microsoft.com/office/drawing/2014/main" id="{64BE4B93-62E9-2F63-31E4-4FC00E3A7867}"/>
              </a:ext>
            </a:extLst>
          </p:cNvPr>
          <p:cNvSpPr/>
          <p:nvPr/>
        </p:nvSpPr>
        <p:spPr>
          <a:xfrm rot="10800000">
            <a:off x="8145126" y="6004764"/>
            <a:ext cx="357889" cy="24155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Tree>
    <p:extLst>
      <p:ext uri="{BB962C8B-B14F-4D97-AF65-F5344CB8AC3E}">
        <p14:creationId xmlns:p14="http://schemas.microsoft.com/office/powerpoint/2010/main" val="258901493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a:extLst>
              <a:ext uri="{FF2B5EF4-FFF2-40B4-BE49-F238E27FC236}">
                <a16:creationId xmlns:a16="http://schemas.microsoft.com/office/drawing/2014/main" id="{A7706305-8775-399E-5BBA-BC4870FA15F6}"/>
              </a:ext>
            </a:extLst>
          </p:cNvPr>
          <p:cNvSpPr txBox="1"/>
          <p:nvPr/>
        </p:nvSpPr>
        <p:spPr>
          <a:xfrm>
            <a:off x="1065048" y="431877"/>
            <a:ext cx="8506790" cy="584775"/>
          </a:xfrm>
          <a:prstGeom prst="rect">
            <a:avLst/>
          </a:prstGeom>
          <a:noFill/>
        </p:spPr>
        <p:txBody>
          <a:bodyPr wrap="square">
            <a:spAutoFit/>
          </a:bodyPr>
          <a:lstStyle/>
          <a:p>
            <a:pPr indent="-457200">
              <a:buFont typeface="Wingdings" panose="05000000000000000000" pitchFamily="2" charset="2"/>
              <a:buChar char="Ø"/>
            </a:pPr>
            <a:r>
              <a:rPr lang="de-DE" sz="3200" b="1">
                <a:latin typeface="Times New Roman" panose="02020603050405020304" pitchFamily="18" charset="0"/>
                <a:cs typeface="Times New Roman" panose="02020603050405020304" pitchFamily="18" charset="0"/>
              </a:rPr>
              <a:t>Thu ngân sách </a:t>
            </a:r>
            <a:r>
              <a:rPr lang="vi-VN" sz="3200" b="1">
                <a:latin typeface="Times New Roman" panose="02020603050405020304" pitchFamily="18" charset="0"/>
                <a:cs typeface="Times New Roman" panose="02020603050405020304" pitchFamily="18" charset="0"/>
              </a:rPr>
              <a:t>các huyện, thị xã, thành phố</a:t>
            </a:r>
            <a:endParaRPr lang="en-US" sz="3200" b="1" kern="0" spc="-10">
              <a:solidFill>
                <a:prstClr val="black"/>
              </a:solidFill>
              <a:ea typeface="Times New Roman" panose="02020603050405020304" pitchFamily="18" charset="0"/>
            </a:endParaRPr>
          </a:p>
        </p:txBody>
      </p:sp>
      <p:pic>
        <p:nvPicPr>
          <p:cNvPr id="5" name="Picture 4" descr="Table&#10;&#10;Description automatically generated">
            <a:extLst>
              <a:ext uri="{FF2B5EF4-FFF2-40B4-BE49-F238E27FC236}">
                <a16:creationId xmlns:a16="http://schemas.microsoft.com/office/drawing/2014/main" id="{5CD19AE0-0900-8829-8BCC-145B3964A8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2308" y="1155550"/>
            <a:ext cx="11677954" cy="5270573"/>
          </a:xfrm>
          <a:prstGeom prst="rect">
            <a:avLst/>
          </a:prstGeom>
        </p:spPr>
      </p:pic>
    </p:spTree>
    <p:extLst>
      <p:ext uri="{BB962C8B-B14F-4D97-AF65-F5344CB8AC3E}">
        <p14:creationId xmlns:p14="http://schemas.microsoft.com/office/powerpoint/2010/main" val="189316468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02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FF705920-E1B4-B4D0-9EA4-A27AA5761577}"/>
              </a:ext>
            </a:extLst>
          </p:cNvPr>
          <p:cNvCxnSpPr>
            <a:cxnSpLocks/>
          </p:cNvCxnSpPr>
          <p:nvPr/>
        </p:nvCxnSpPr>
        <p:spPr>
          <a:xfrm>
            <a:off x="777362" y="524236"/>
            <a:ext cx="8341471"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1DC26C3-E6F4-C27A-8624-3A65D81B6008}"/>
              </a:ext>
            </a:extLst>
          </p:cNvPr>
          <p:cNvSpPr/>
          <p:nvPr/>
        </p:nvSpPr>
        <p:spPr>
          <a:xfrm>
            <a:off x="1127714" y="830952"/>
            <a:ext cx="318709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4. Đầu tư phát triển</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429952305"/>
              </p:ext>
            </p:extLst>
          </p:nvPr>
        </p:nvGraphicFramePr>
        <p:xfrm>
          <a:off x="507674" y="1670324"/>
          <a:ext cx="7092752" cy="3657600"/>
        </p:xfrm>
        <a:graphic>
          <a:graphicData uri="http://schemas.openxmlformats.org/drawingml/2006/table">
            <a:tbl>
              <a:tblPr firstRow="1" bandRow="1"/>
              <a:tblGrid>
                <a:gridCol w="7092752">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Đã phân bổ chi tiết kế hoạch vốn đầu tư phát triển thực hiện trong năm 2023. Riêng đối với nguồn vốn các Chương trình mục tiêu quốc gia năm 2023 đang xây dựng để báo cáo UBND tỉnh trình HĐND tỉnh cuối tháng 3/2023</a:t>
                      </a:r>
                      <a:endParaRPr lang="en-US" sz="28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 Tập trung tháo gỡ các khó khăn vướng mắc, để đẩy nhanh tiến độ thực hiện các dự án trọng điểm</a:t>
                      </a:r>
                      <a:endParaRPr lang="vi-VN" sz="28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2" name="Picture 1" descr="A group of people looking at a map&#10;&#10;Description automatically generated with medium confidence">
            <a:extLst>
              <a:ext uri="{FF2B5EF4-FFF2-40B4-BE49-F238E27FC236}">
                <a16:creationId xmlns:a16="http://schemas.microsoft.com/office/drawing/2014/main" id="{8AD87206-4C50-4DB5-8F5A-727327E5FF6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48828" y="3959544"/>
            <a:ext cx="3925122" cy="2207881"/>
          </a:xfrm>
          <a:prstGeom prst="rect">
            <a:avLst/>
          </a:prstGeom>
        </p:spPr>
      </p:pic>
      <p:pic>
        <p:nvPicPr>
          <p:cNvPr id="3" name="Picture 2" descr="A road next to a body of water&#10;&#10;Description automatically generated with low confidence">
            <a:extLst>
              <a:ext uri="{FF2B5EF4-FFF2-40B4-BE49-F238E27FC236}">
                <a16:creationId xmlns:a16="http://schemas.microsoft.com/office/drawing/2014/main" id="{65E2C9CA-C74B-BF6D-7601-969BE1A28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11776" y="1221118"/>
            <a:ext cx="3962174" cy="2207882"/>
          </a:xfrm>
          <a:prstGeom prst="rect">
            <a:avLst/>
          </a:prstGeom>
        </p:spPr>
      </p:pic>
    </p:spTree>
    <p:extLst>
      <p:ext uri="{BB962C8B-B14F-4D97-AF65-F5344CB8AC3E}">
        <p14:creationId xmlns:p14="http://schemas.microsoft.com/office/powerpoint/2010/main" val="2957479116"/>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02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FF705920-E1B4-B4D0-9EA4-A27AA5761577}"/>
              </a:ext>
            </a:extLst>
          </p:cNvPr>
          <p:cNvCxnSpPr>
            <a:cxnSpLocks/>
          </p:cNvCxnSpPr>
          <p:nvPr/>
        </p:nvCxnSpPr>
        <p:spPr>
          <a:xfrm>
            <a:off x="777362" y="524236"/>
            <a:ext cx="8475695"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1DC26C3-E6F4-C27A-8624-3A65D81B6008}"/>
              </a:ext>
            </a:extLst>
          </p:cNvPr>
          <p:cNvSpPr/>
          <p:nvPr/>
        </p:nvSpPr>
        <p:spPr>
          <a:xfrm>
            <a:off x="1144492" y="698147"/>
            <a:ext cx="318709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4. Đầu tư phát triển</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5" name="Table 4">
            <a:extLst>
              <a:ext uri="{FF2B5EF4-FFF2-40B4-BE49-F238E27FC236}">
                <a16:creationId xmlns:a16="http://schemas.microsoft.com/office/drawing/2014/main" id="{5E276789-81D8-473A-F984-C33FAEC6527A}"/>
              </a:ext>
            </a:extLst>
          </p:cNvPr>
          <p:cNvGraphicFramePr>
            <a:graphicFrameLocks noGrp="1"/>
          </p:cNvGraphicFramePr>
          <p:nvPr>
            <p:extLst>
              <p:ext uri="{D42A27DB-BD31-4B8C-83A1-F6EECF244321}">
                <p14:modId xmlns:p14="http://schemas.microsoft.com/office/powerpoint/2010/main" val="2604635939"/>
              </p:ext>
            </p:extLst>
          </p:nvPr>
        </p:nvGraphicFramePr>
        <p:xfrm>
          <a:off x="515541" y="1305125"/>
          <a:ext cx="5688704" cy="1969770"/>
        </p:xfrm>
        <a:graphic>
          <a:graphicData uri="http://schemas.openxmlformats.org/drawingml/2006/table">
            <a:tbl>
              <a:tblPr>
                <a:tableStyleId>{5C22544A-7EE6-4342-B048-85BDC9FD1C3A}</a:tableStyleId>
              </a:tblPr>
              <a:tblGrid>
                <a:gridCol w="426374">
                  <a:extLst>
                    <a:ext uri="{9D8B030D-6E8A-4147-A177-3AD203B41FA5}">
                      <a16:colId xmlns:a16="http://schemas.microsoft.com/office/drawing/2014/main" val="2882268699"/>
                    </a:ext>
                  </a:extLst>
                </a:gridCol>
                <a:gridCol w="2468796">
                  <a:extLst>
                    <a:ext uri="{9D8B030D-6E8A-4147-A177-3AD203B41FA5}">
                      <a16:colId xmlns:a16="http://schemas.microsoft.com/office/drawing/2014/main" val="3998754279"/>
                    </a:ext>
                  </a:extLst>
                </a:gridCol>
                <a:gridCol w="1098958">
                  <a:extLst>
                    <a:ext uri="{9D8B030D-6E8A-4147-A177-3AD203B41FA5}">
                      <a16:colId xmlns:a16="http://schemas.microsoft.com/office/drawing/2014/main" val="1101905350"/>
                    </a:ext>
                  </a:extLst>
                </a:gridCol>
                <a:gridCol w="897622">
                  <a:extLst>
                    <a:ext uri="{9D8B030D-6E8A-4147-A177-3AD203B41FA5}">
                      <a16:colId xmlns:a16="http://schemas.microsoft.com/office/drawing/2014/main" val="1110548552"/>
                    </a:ext>
                  </a:extLst>
                </a:gridCol>
                <a:gridCol w="796954">
                  <a:extLst>
                    <a:ext uri="{9D8B030D-6E8A-4147-A177-3AD203B41FA5}">
                      <a16:colId xmlns:a16="http://schemas.microsoft.com/office/drawing/2014/main" val="3152639704"/>
                    </a:ext>
                  </a:extLst>
                </a:gridCol>
              </a:tblGrid>
              <a:tr h="819150">
                <a:tc>
                  <a:txBody>
                    <a:bodyPr/>
                    <a:lstStyle/>
                    <a:p>
                      <a:pPr algn="ctr" fontAlgn="ctr"/>
                      <a:r>
                        <a:rPr lang="vi-VN" sz="1200" u="none" strike="noStrike">
                          <a:solidFill>
                            <a:schemeClr val="tx1"/>
                          </a:solidFill>
                          <a:effectLst/>
                          <a:latin typeface="+mj-lt"/>
                        </a:rPr>
                        <a:t>STT</a:t>
                      </a:r>
                      <a:endParaRPr lang="vi-VN" sz="1200" b="1" i="0" u="none"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solidFill>
                            <a:schemeClr val="tx1"/>
                          </a:solidFill>
                          <a:effectLst/>
                          <a:latin typeface="+mj-lt"/>
                        </a:rPr>
                        <a:t>Tên nguồn</a:t>
                      </a:r>
                      <a:endParaRPr lang="vi-VN" sz="1200" b="1" i="0" u="none"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200" u="none" strike="noStrike">
                          <a:solidFill>
                            <a:schemeClr val="tx1"/>
                          </a:solidFill>
                          <a:effectLst/>
                          <a:latin typeface="+mj-lt"/>
                        </a:rPr>
                        <a:t>Kế hoạch 2023</a:t>
                      </a:r>
                      <a:endParaRPr lang="vi-VN" sz="1200" b="1" i="0" u="none" strike="noStrike">
                        <a:solidFill>
                          <a:schemeClr val="tx1"/>
                        </a:solidFill>
                        <a:effectLst/>
                        <a:latin typeface="+mj-lt"/>
                      </a:endParaRPr>
                    </a:p>
                  </a:txBody>
                  <a:tcPr marL="857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vi-VN" sz="1200" u="none" strike="noStrike">
                          <a:solidFill>
                            <a:schemeClr val="tx1"/>
                          </a:solidFill>
                          <a:effectLst/>
                          <a:latin typeface="+mj-lt"/>
                        </a:rPr>
                        <a:t>Giải ngân từ </a:t>
                      </a:r>
                      <a:br>
                        <a:rPr lang="vi-VN" sz="1200" u="none" strike="noStrike">
                          <a:solidFill>
                            <a:schemeClr val="tx1"/>
                          </a:solidFill>
                          <a:effectLst/>
                          <a:latin typeface="+mj-lt"/>
                        </a:rPr>
                      </a:br>
                      <a:r>
                        <a:rPr lang="vi-VN" sz="1200" u="none" strike="noStrike">
                          <a:solidFill>
                            <a:schemeClr val="tx1"/>
                          </a:solidFill>
                          <a:effectLst/>
                          <a:latin typeface="+mj-lt"/>
                        </a:rPr>
                        <a:t>01/01 đến</a:t>
                      </a:r>
                      <a:br>
                        <a:rPr lang="vi-VN" sz="1200" u="none" strike="noStrike">
                          <a:solidFill>
                            <a:schemeClr val="tx1"/>
                          </a:solidFill>
                          <a:effectLst/>
                          <a:latin typeface="+mj-lt"/>
                        </a:rPr>
                      </a:br>
                      <a:r>
                        <a:rPr lang="vi-VN" sz="1200" u="none" strike="noStrike">
                          <a:solidFill>
                            <a:schemeClr val="tx1"/>
                          </a:solidFill>
                          <a:effectLst/>
                          <a:latin typeface="+mj-lt"/>
                        </a:rPr>
                        <a:t>01/3</a:t>
                      </a:r>
                      <a:endParaRPr lang="vi-VN" sz="1100" b="0"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solidFill>
                            <a:schemeClr val="tx1"/>
                          </a:solidFill>
                          <a:effectLst/>
                          <a:latin typeface="+mj-lt"/>
                        </a:rPr>
                        <a:t>Tỷ lệ (%)</a:t>
                      </a:r>
                      <a:endParaRPr lang="vi-VN" sz="1200" b="1" i="0" u="none" strike="noStrike">
                        <a:solidFill>
                          <a:schemeClr val="tx1"/>
                        </a:solidFill>
                        <a:effectLst/>
                        <a:latin typeface="+mj-lt"/>
                      </a:endParaRPr>
                    </a:p>
                  </a:txBody>
                  <a:tcPr marL="171450"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7493367"/>
                  </a:ext>
                </a:extLst>
              </a:tr>
              <a:tr h="381000">
                <a:tc>
                  <a:txBody>
                    <a:bodyPr/>
                    <a:lstStyle/>
                    <a:p>
                      <a:pPr algn="ctr" fontAlgn="t"/>
                      <a:r>
                        <a:rPr lang="vi-VN" sz="1200" b="1" u="none" strike="noStrike">
                          <a:solidFill>
                            <a:schemeClr val="tx1"/>
                          </a:solidFill>
                          <a:effectLst/>
                          <a:latin typeface="+mj-lt"/>
                        </a:rPr>
                        <a:t>A</a:t>
                      </a:r>
                      <a:endParaRPr lang="vi-VN" sz="1200" b="1"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vi-VN" sz="1200" b="1" u="none" strike="noStrike">
                          <a:solidFill>
                            <a:schemeClr val="tx1"/>
                          </a:solidFill>
                          <a:effectLst/>
                          <a:latin typeface="+mj-lt"/>
                        </a:rPr>
                        <a:t>TỔNG VỐN CHIA THEO CẤP TỈNH, HUYỆN THỰC HIỆN</a:t>
                      </a:r>
                      <a:endParaRPr lang="vi-VN" sz="1100" b="1"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200" b="1" u="none" strike="noStrike">
                          <a:solidFill>
                            <a:schemeClr val="tx1"/>
                          </a:solidFill>
                          <a:effectLst/>
                          <a:latin typeface="+mj-lt"/>
                        </a:rPr>
                        <a:t>8.916.830</a:t>
                      </a:r>
                      <a:endParaRPr lang="vi-VN" sz="1200" b="1" i="0" u="none" strike="noStrike">
                        <a:solidFill>
                          <a:schemeClr val="tx1"/>
                        </a:solidFill>
                        <a:effectLst/>
                        <a:latin typeface="+mj-lt"/>
                      </a:endParaRPr>
                    </a:p>
                  </a:txBody>
                  <a:tcPr marL="25717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200" b="1" u="none" strike="noStrike">
                          <a:solidFill>
                            <a:schemeClr val="tx1"/>
                          </a:solidFill>
                          <a:effectLst/>
                          <a:latin typeface="+mj-lt"/>
                        </a:rPr>
                        <a:t>1.113.408</a:t>
                      </a:r>
                      <a:endParaRPr lang="vi-VN" sz="1200" b="1"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200" b="1" u="none" strike="noStrike">
                          <a:solidFill>
                            <a:schemeClr val="tx1"/>
                          </a:solidFill>
                          <a:effectLst/>
                          <a:latin typeface="+mj-lt"/>
                        </a:rPr>
                        <a:t>12,49</a:t>
                      </a:r>
                      <a:endParaRPr lang="vi-VN" sz="1200" b="1"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37325004"/>
                  </a:ext>
                </a:extLst>
              </a:tr>
              <a:tr h="190500">
                <a:tc>
                  <a:txBody>
                    <a:bodyPr/>
                    <a:lstStyle/>
                    <a:p>
                      <a:pPr algn="ctr" fontAlgn="t"/>
                      <a:r>
                        <a:rPr lang="vi-VN" sz="1200" u="none" strike="noStrike">
                          <a:solidFill>
                            <a:schemeClr val="tx1"/>
                          </a:solidFill>
                          <a:effectLst/>
                          <a:latin typeface="+mj-lt"/>
                        </a:rPr>
                        <a:t>I</a:t>
                      </a:r>
                      <a:endParaRPr lang="vi-VN" sz="1200" b="1"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l" fontAlgn="t"/>
                      <a:r>
                        <a:rPr lang="vi-VN" sz="1200" u="none" strike="noStrike">
                          <a:solidFill>
                            <a:schemeClr val="tx1"/>
                          </a:solidFill>
                          <a:effectLst/>
                          <a:latin typeface="+mj-lt"/>
                        </a:rPr>
                        <a:t>Tỉnh thực hiện</a:t>
                      </a:r>
                      <a:endParaRPr lang="vi-VN" sz="1200" b="1"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l" fontAlgn="t"/>
                      <a:r>
                        <a:rPr lang="vi-VN" sz="1200" u="none" strike="noStrike">
                          <a:solidFill>
                            <a:schemeClr val="tx1"/>
                          </a:solidFill>
                          <a:effectLst/>
                          <a:latin typeface="+mj-lt"/>
                        </a:rPr>
                        <a:t>5.916.072</a:t>
                      </a:r>
                      <a:endParaRPr lang="vi-VN" sz="1200" b="1" i="0" u="none" strike="noStrike">
                        <a:solidFill>
                          <a:schemeClr val="tx1"/>
                        </a:solidFill>
                        <a:effectLst/>
                        <a:latin typeface="+mj-lt"/>
                      </a:endParaRPr>
                    </a:p>
                  </a:txBody>
                  <a:tcPr marL="25717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r" fontAlgn="t"/>
                      <a:r>
                        <a:rPr lang="vi-VN" sz="1200" u="none" strike="noStrike">
                          <a:solidFill>
                            <a:schemeClr val="tx1"/>
                          </a:solidFill>
                          <a:effectLst/>
                          <a:latin typeface="+mj-lt"/>
                        </a:rPr>
                        <a:t>841.734</a:t>
                      </a:r>
                      <a:endParaRPr lang="vi-VN" sz="1200" b="1"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r" fontAlgn="t"/>
                      <a:r>
                        <a:rPr lang="vi-VN" sz="1200" u="none" strike="noStrike">
                          <a:solidFill>
                            <a:schemeClr val="tx1"/>
                          </a:solidFill>
                          <a:effectLst/>
                          <a:latin typeface="+mj-lt"/>
                        </a:rPr>
                        <a:t>14,23</a:t>
                      </a:r>
                      <a:endParaRPr lang="vi-VN" sz="1200" b="1"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4073613464"/>
                  </a:ext>
                </a:extLst>
              </a:tr>
              <a:tr h="190500">
                <a:tc>
                  <a:txBody>
                    <a:bodyPr/>
                    <a:lstStyle/>
                    <a:p>
                      <a:pPr algn="ctr" fontAlgn="t"/>
                      <a:r>
                        <a:rPr lang="vi-VN" sz="1200" u="none" strike="noStrike">
                          <a:solidFill>
                            <a:schemeClr val="tx1"/>
                          </a:solidFill>
                          <a:effectLst/>
                          <a:latin typeface="+mj-lt"/>
                        </a:rPr>
                        <a:t>1</a:t>
                      </a:r>
                      <a:endParaRPr lang="vi-VN" sz="1200" b="0"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200" u="none" strike="noStrike">
                          <a:solidFill>
                            <a:schemeClr val="tx1"/>
                          </a:solidFill>
                          <a:effectLst/>
                          <a:latin typeface="+mj-lt"/>
                        </a:rPr>
                        <a:t>Vốn trong nước</a:t>
                      </a:r>
                      <a:endParaRPr lang="vi-VN" sz="1200" b="0"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200" u="none" strike="noStrike">
                          <a:solidFill>
                            <a:schemeClr val="tx1"/>
                          </a:solidFill>
                          <a:effectLst/>
                          <a:latin typeface="+mj-lt"/>
                        </a:rPr>
                        <a:t>5.745.690</a:t>
                      </a:r>
                      <a:endParaRPr lang="vi-VN" sz="1200" b="0" i="0" u="none" strike="noStrike">
                        <a:solidFill>
                          <a:schemeClr val="tx1"/>
                        </a:solidFill>
                        <a:effectLst/>
                        <a:latin typeface="+mj-lt"/>
                      </a:endParaRPr>
                    </a:p>
                  </a:txBody>
                  <a:tcPr marL="25717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200" u="none" strike="noStrike">
                          <a:solidFill>
                            <a:schemeClr val="tx1"/>
                          </a:solidFill>
                          <a:effectLst/>
                          <a:latin typeface="+mj-lt"/>
                        </a:rPr>
                        <a:t>827.444</a:t>
                      </a:r>
                      <a:endParaRPr lang="vi-VN" sz="1200" b="0"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200" u="none" strike="noStrike">
                          <a:solidFill>
                            <a:schemeClr val="tx1"/>
                          </a:solidFill>
                          <a:effectLst/>
                          <a:latin typeface="+mj-lt"/>
                        </a:rPr>
                        <a:t>14,40</a:t>
                      </a:r>
                      <a:endParaRPr lang="vi-VN" sz="1200" b="0"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1730312"/>
                  </a:ext>
                </a:extLst>
              </a:tr>
              <a:tr h="190500">
                <a:tc>
                  <a:txBody>
                    <a:bodyPr/>
                    <a:lstStyle/>
                    <a:p>
                      <a:pPr algn="ctr" fontAlgn="t"/>
                      <a:r>
                        <a:rPr lang="vi-VN" sz="1200" u="none" strike="noStrike">
                          <a:solidFill>
                            <a:schemeClr val="tx1"/>
                          </a:solidFill>
                          <a:effectLst/>
                          <a:latin typeface="+mj-lt"/>
                        </a:rPr>
                        <a:t>2</a:t>
                      </a:r>
                      <a:endParaRPr lang="vi-VN" sz="1200" b="0"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200" u="none" strike="noStrike">
                          <a:solidFill>
                            <a:schemeClr val="tx1"/>
                          </a:solidFill>
                          <a:effectLst/>
                          <a:latin typeface="+mj-lt"/>
                        </a:rPr>
                        <a:t>Vốn nước ngoài ODA</a:t>
                      </a:r>
                      <a:endParaRPr lang="vi-VN" sz="1200" b="0"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200" u="none" strike="noStrike">
                          <a:solidFill>
                            <a:schemeClr val="tx1"/>
                          </a:solidFill>
                          <a:effectLst/>
                          <a:latin typeface="+mj-lt"/>
                        </a:rPr>
                        <a:t>170.382</a:t>
                      </a:r>
                      <a:endParaRPr lang="vi-VN" sz="1200" b="0" i="0" u="none" strike="noStrike">
                        <a:solidFill>
                          <a:schemeClr val="tx1"/>
                        </a:solidFill>
                        <a:effectLst/>
                        <a:latin typeface="+mj-lt"/>
                      </a:endParaRPr>
                    </a:p>
                  </a:txBody>
                  <a:tcPr marL="342900"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200" u="none" strike="noStrike">
                          <a:solidFill>
                            <a:schemeClr val="tx1"/>
                          </a:solidFill>
                          <a:effectLst/>
                          <a:latin typeface="+mj-lt"/>
                        </a:rPr>
                        <a:t>14.290</a:t>
                      </a:r>
                      <a:endParaRPr lang="vi-VN" sz="1200" b="0"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200" u="none" strike="noStrike">
                          <a:solidFill>
                            <a:schemeClr val="tx1"/>
                          </a:solidFill>
                          <a:effectLst/>
                          <a:latin typeface="+mj-lt"/>
                        </a:rPr>
                        <a:t>8,39</a:t>
                      </a:r>
                      <a:endParaRPr lang="vi-VN" sz="1200" b="0"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07043770"/>
                  </a:ext>
                </a:extLst>
              </a:tr>
              <a:tr h="100318">
                <a:tc>
                  <a:txBody>
                    <a:bodyPr/>
                    <a:lstStyle/>
                    <a:p>
                      <a:pPr algn="ctr" fontAlgn="t"/>
                      <a:r>
                        <a:rPr lang="vi-VN" sz="1200" u="none" strike="noStrike">
                          <a:solidFill>
                            <a:schemeClr val="tx1"/>
                          </a:solidFill>
                          <a:effectLst/>
                          <a:latin typeface="+mj-lt"/>
                        </a:rPr>
                        <a:t>II</a:t>
                      </a:r>
                      <a:endParaRPr lang="vi-VN" sz="1200" b="1"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l" fontAlgn="t"/>
                      <a:r>
                        <a:rPr lang="vi-VN" sz="1200" u="none" strike="noStrike">
                          <a:solidFill>
                            <a:schemeClr val="tx1"/>
                          </a:solidFill>
                          <a:effectLst/>
                          <a:latin typeface="+mj-lt"/>
                        </a:rPr>
                        <a:t>Huyện thực hiện</a:t>
                      </a:r>
                      <a:endParaRPr lang="vi-VN" sz="1200" b="1"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l" fontAlgn="t"/>
                      <a:r>
                        <a:rPr lang="vi-VN" sz="1200" u="none" strike="noStrike">
                          <a:solidFill>
                            <a:schemeClr val="tx1"/>
                          </a:solidFill>
                          <a:effectLst/>
                          <a:latin typeface="+mj-lt"/>
                        </a:rPr>
                        <a:t>3.000.758</a:t>
                      </a:r>
                      <a:endParaRPr lang="vi-VN" sz="1200" b="1" i="0" u="none" strike="noStrike">
                        <a:solidFill>
                          <a:schemeClr val="tx1"/>
                        </a:solidFill>
                        <a:effectLst/>
                        <a:latin typeface="+mj-lt"/>
                      </a:endParaRPr>
                    </a:p>
                  </a:txBody>
                  <a:tcPr marL="25717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r" fontAlgn="t"/>
                      <a:r>
                        <a:rPr lang="vi-VN" sz="1200" u="none" strike="noStrike">
                          <a:solidFill>
                            <a:schemeClr val="tx1"/>
                          </a:solidFill>
                          <a:effectLst/>
                          <a:latin typeface="+mj-lt"/>
                        </a:rPr>
                        <a:t>271.674</a:t>
                      </a:r>
                      <a:endParaRPr lang="vi-VN" sz="1200" b="1"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r" fontAlgn="t"/>
                      <a:r>
                        <a:rPr lang="vi-VN" sz="1200" u="none" strike="noStrike">
                          <a:solidFill>
                            <a:schemeClr val="tx1"/>
                          </a:solidFill>
                          <a:effectLst/>
                          <a:latin typeface="+mj-lt"/>
                        </a:rPr>
                        <a:t>9,05</a:t>
                      </a:r>
                      <a:endParaRPr lang="vi-VN" sz="1200" b="1" i="0" u="none" strike="noStrike">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240398929"/>
                  </a:ext>
                </a:extLst>
              </a:tr>
            </a:tbl>
          </a:graphicData>
        </a:graphic>
      </p:graphicFrame>
      <p:graphicFrame>
        <p:nvGraphicFramePr>
          <p:cNvPr id="11" name="Table 10">
            <a:extLst>
              <a:ext uri="{FF2B5EF4-FFF2-40B4-BE49-F238E27FC236}">
                <a16:creationId xmlns:a16="http://schemas.microsoft.com/office/drawing/2014/main" id="{4B45D7FF-8DC4-EFEE-6185-72256E375CCA}"/>
              </a:ext>
            </a:extLst>
          </p:cNvPr>
          <p:cNvGraphicFramePr>
            <a:graphicFrameLocks noGrp="1"/>
          </p:cNvGraphicFramePr>
          <p:nvPr>
            <p:extLst>
              <p:ext uri="{D42A27DB-BD31-4B8C-83A1-F6EECF244321}">
                <p14:modId xmlns:p14="http://schemas.microsoft.com/office/powerpoint/2010/main" val="1648206859"/>
              </p:ext>
            </p:extLst>
          </p:nvPr>
        </p:nvGraphicFramePr>
        <p:xfrm>
          <a:off x="6290233" y="1288028"/>
          <a:ext cx="5545617" cy="5403290"/>
        </p:xfrm>
        <a:graphic>
          <a:graphicData uri="http://schemas.openxmlformats.org/drawingml/2006/table">
            <a:tbl>
              <a:tblPr>
                <a:tableStyleId>{5C22544A-7EE6-4342-B048-85BDC9FD1C3A}</a:tableStyleId>
              </a:tblPr>
              <a:tblGrid>
                <a:gridCol w="380703">
                  <a:extLst>
                    <a:ext uri="{9D8B030D-6E8A-4147-A177-3AD203B41FA5}">
                      <a16:colId xmlns:a16="http://schemas.microsoft.com/office/drawing/2014/main" val="352968412"/>
                    </a:ext>
                  </a:extLst>
                </a:gridCol>
                <a:gridCol w="2487848">
                  <a:extLst>
                    <a:ext uri="{9D8B030D-6E8A-4147-A177-3AD203B41FA5}">
                      <a16:colId xmlns:a16="http://schemas.microsoft.com/office/drawing/2014/main" val="3591385481"/>
                    </a:ext>
                  </a:extLst>
                </a:gridCol>
                <a:gridCol w="953574">
                  <a:extLst>
                    <a:ext uri="{9D8B030D-6E8A-4147-A177-3AD203B41FA5}">
                      <a16:colId xmlns:a16="http://schemas.microsoft.com/office/drawing/2014/main" val="4053947092"/>
                    </a:ext>
                  </a:extLst>
                </a:gridCol>
                <a:gridCol w="967988">
                  <a:extLst>
                    <a:ext uri="{9D8B030D-6E8A-4147-A177-3AD203B41FA5}">
                      <a16:colId xmlns:a16="http://schemas.microsoft.com/office/drawing/2014/main" val="1248932586"/>
                    </a:ext>
                  </a:extLst>
                </a:gridCol>
                <a:gridCol w="755504">
                  <a:extLst>
                    <a:ext uri="{9D8B030D-6E8A-4147-A177-3AD203B41FA5}">
                      <a16:colId xmlns:a16="http://schemas.microsoft.com/office/drawing/2014/main" val="2546028728"/>
                    </a:ext>
                  </a:extLst>
                </a:gridCol>
              </a:tblGrid>
              <a:tr h="777994">
                <a:tc>
                  <a:txBody>
                    <a:bodyPr/>
                    <a:lstStyle/>
                    <a:p>
                      <a:pPr algn="ctr" fontAlgn="ctr"/>
                      <a:r>
                        <a:rPr lang="vi-VN" sz="1400" u="none" strike="noStrike">
                          <a:effectLst/>
                          <a:latin typeface="+mj-lt"/>
                        </a:rPr>
                        <a:t>STT</a:t>
                      </a:r>
                      <a:endParaRPr lang="vi-VN" sz="1400" b="1" i="0" u="none" strike="noStrike">
                        <a:solidFill>
                          <a:srgbClr val="000000"/>
                        </a:solidFill>
                        <a:effectLst/>
                        <a:latin typeface="+mj-lt"/>
                      </a:endParaRPr>
                    </a:p>
                  </a:txBody>
                  <a:tcPr marL="9046" marR="9046" marT="9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u="none" strike="noStrike">
                          <a:effectLst/>
                          <a:latin typeface="+mj-lt"/>
                        </a:rPr>
                        <a:t>Tên nguồn</a:t>
                      </a:r>
                      <a:endParaRPr lang="vi-VN" sz="1400" b="1" i="0" u="none" strike="noStrike">
                        <a:solidFill>
                          <a:srgbClr val="000000"/>
                        </a:solidFill>
                        <a:effectLst/>
                        <a:latin typeface="+mj-lt"/>
                      </a:endParaRPr>
                    </a:p>
                  </a:txBody>
                  <a:tcPr marL="9046" marR="9046" marT="9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Kế hoạch 2023</a:t>
                      </a:r>
                      <a:endParaRPr lang="vi-VN" sz="1400" b="1" i="0" u="none" strike="noStrike">
                        <a:solidFill>
                          <a:srgbClr val="000000"/>
                        </a:solidFill>
                        <a:effectLst/>
                        <a:latin typeface="+mj-lt"/>
                      </a:endParaRPr>
                    </a:p>
                  </a:txBody>
                  <a:tcPr marL="81418"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vi-VN" sz="1400" u="none" strike="noStrike">
                          <a:effectLst/>
                          <a:latin typeface="+mj-lt"/>
                        </a:rPr>
                        <a:t>Giải ngân từ</a:t>
                      </a:r>
                      <a:br>
                        <a:rPr lang="vi-VN" sz="1400" u="none" strike="noStrike">
                          <a:effectLst/>
                          <a:latin typeface="+mj-lt"/>
                        </a:rPr>
                      </a:br>
                      <a:r>
                        <a:rPr lang="vi-VN" sz="1400" u="none" strike="noStrike">
                          <a:effectLst/>
                          <a:latin typeface="+mj-lt"/>
                        </a:rPr>
                        <a:t>01/01 đến</a:t>
                      </a:r>
                      <a:br>
                        <a:rPr lang="vi-VN" sz="1400" u="none" strike="noStrike">
                          <a:effectLst/>
                          <a:latin typeface="+mj-lt"/>
                        </a:rPr>
                      </a:br>
                      <a:r>
                        <a:rPr lang="vi-VN" sz="1400" u="none" strike="noStrike">
                          <a:effectLst/>
                          <a:latin typeface="+mj-lt"/>
                        </a:rPr>
                        <a:t>01/3</a:t>
                      </a:r>
                      <a:endParaRPr lang="vi-VN" sz="1400" b="0" i="0"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400" u="none" strike="noStrike">
                          <a:effectLst/>
                          <a:latin typeface="+mj-lt"/>
                        </a:rPr>
                        <a:t>Tỷ lệ</a:t>
                      </a:r>
                      <a:endParaRPr lang="vi-VN" sz="1400" b="1" i="0" u="none" strike="noStrike">
                        <a:solidFill>
                          <a:srgbClr val="000000"/>
                        </a:solidFill>
                        <a:effectLst/>
                        <a:latin typeface="+mj-lt"/>
                      </a:endParaRPr>
                    </a:p>
                  </a:txBody>
                  <a:tcPr marL="162836" marR="9046" marT="90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52193454"/>
                  </a:ext>
                </a:extLst>
              </a:tr>
              <a:tr h="361858">
                <a:tc>
                  <a:txBody>
                    <a:bodyPr/>
                    <a:lstStyle/>
                    <a:p>
                      <a:pPr algn="ctr" fontAlgn="t"/>
                      <a:r>
                        <a:rPr lang="vi-VN" sz="1400" b="1" u="none" strike="noStrike">
                          <a:effectLst/>
                          <a:latin typeface="+mj-lt"/>
                        </a:rPr>
                        <a:t>B</a:t>
                      </a:r>
                      <a:endParaRPr lang="vi-VN" sz="1400" b="1" i="0"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vi-VN" sz="1400" b="1" u="none" strike="noStrike">
                          <a:effectLst/>
                          <a:latin typeface="+mj-lt"/>
                        </a:rPr>
                        <a:t>TỔNG SỐ VỐN TỈNH QUẢN LÝ CHIA THEO NGUỒN</a:t>
                      </a:r>
                      <a:endParaRPr lang="vi-VN" sz="1400" b="1" i="0"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b="1" u="none" strike="noStrike">
                          <a:effectLst/>
                          <a:latin typeface="+mj-lt"/>
                        </a:rPr>
                        <a:t>8.916.830</a:t>
                      </a:r>
                      <a:endParaRPr lang="vi-VN" sz="1400" b="1" i="0" u="none" strike="noStrike">
                        <a:solidFill>
                          <a:srgbClr val="000000"/>
                        </a:solidFill>
                        <a:effectLst/>
                        <a:latin typeface="+mj-lt"/>
                      </a:endParaRPr>
                    </a:p>
                  </a:txBody>
                  <a:tcPr marL="16283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b="1" u="none" strike="noStrike">
                          <a:effectLst/>
                          <a:latin typeface="+mj-lt"/>
                        </a:rPr>
                        <a:t>1.113.408</a:t>
                      </a:r>
                      <a:endParaRPr lang="vi-VN" sz="1400" b="1" i="0"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b="1" u="none" strike="noStrike">
                          <a:effectLst/>
                          <a:latin typeface="+mj-lt"/>
                        </a:rPr>
                        <a:t>12,49</a:t>
                      </a:r>
                      <a:endParaRPr lang="vi-VN" sz="1400" b="1" i="0"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04932991"/>
                  </a:ext>
                </a:extLst>
              </a:tr>
              <a:tr h="189975">
                <a:tc>
                  <a:txBody>
                    <a:bodyPr/>
                    <a:lstStyle/>
                    <a:p>
                      <a:pPr algn="ctr" fontAlgn="t"/>
                      <a:r>
                        <a:rPr lang="vi-VN" sz="1400" u="none" strike="noStrike">
                          <a:effectLst/>
                          <a:latin typeface="+mj-lt"/>
                        </a:rPr>
                        <a:t>*</a:t>
                      </a:r>
                      <a:endParaRPr lang="vi-VN" sz="1400" b="0" i="0"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l" fontAlgn="t"/>
                      <a:r>
                        <a:rPr lang="vi-VN" sz="1400" u="none" strike="noStrike">
                          <a:effectLst/>
                          <a:latin typeface="+mj-lt"/>
                        </a:rPr>
                        <a:t>Vốn ngân sách tỉnh</a:t>
                      </a:r>
                      <a:endParaRPr lang="vi-VN" sz="1400" b="1" i="0" u="none" strike="noStrike">
                        <a:solidFill>
                          <a:srgbClr val="000000"/>
                        </a:solidFill>
                        <a:effectLst/>
                        <a:latin typeface="+mj-lt"/>
                      </a:endParaRPr>
                    </a:p>
                  </a:txBody>
                  <a:tcPr marL="56992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l" fontAlgn="t"/>
                      <a:r>
                        <a:rPr lang="vi-VN" sz="1400" u="none" strike="noStrike">
                          <a:effectLst/>
                          <a:latin typeface="+mj-lt"/>
                        </a:rPr>
                        <a:t>6.340.180</a:t>
                      </a:r>
                      <a:endParaRPr lang="vi-VN" sz="1400" b="1" i="0" u="none" strike="noStrike">
                        <a:solidFill>
                          <a:srgbClr val="000000"/>
                        </a:solidFill>
                        <a:effectLst/>
                        <a:latin typeface="+mj-lt"/>
                      </a:endParaRPr>
                    </a:p>
                  </a:txBody>
                  <a:tcPr marL="16283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r" fontAlgn="t"/>
                      <a:r>
                        <a:rPr lang="vi-VN" sz="1400" u="none" strike="noStrike">
                          <a:effectLst/>
                          <a:latin typeface="+mj-lt"/>
                        </a:rPr>
                        <a:t>495.543</a:t>
                      </a:r>
                      <a:endParaRPr lang="vi-VN" sz="1400" b="1" i="0"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r" fontAlgn="t"/>
                      <a:r>
                        <a:rPr lang="vi-VN" sz="1400" u="none" strike="noStrike">
                          <a:effectLst/>
                          <a:latin typeface="+mj-lt"/>
                        </a:rPr>
                        <a:t>7,82</a:t>
                      </a:r>
                      <a:endParaRPr lang="vi-VN" sz="1400" b="1" i="0"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414605392"/>
                  </a:ext>
                </a:extLst>
              </a:tr>
              <a:tr h="189975">
                <a:tc>
                  <a:txBody>
                    <a:bodyPr/>
                    <a:lstStyle/>
                    <a:p>
                      <a:pPr algn="ctr" fontAlgn="t"/>
                      <a:r>
                        <a:rPr lang="vi-VN" sz="1400" u="none" strike="noStrike">
                          <a:effectLst/>
                          <a:latin typeface="+mj-lt"/>
                        </a:rPr>
                        <a:t>I</a:t>
                      </a:r>
                      <a:endParaRPr lang="vi-VN" sz="1400" b="1" i="0"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Cân đối ngân sách địa phương</a:t>
                      </a:r>
                      <a:endParaRPr lang="vi-VN" sz="1400" b="1" i="0"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6.297.180</a:t>
                      </a:r>
                      <a:endParaRPr lang="vi-VN" sz="1400" b="1" i="0" u="none" strike="noStrike">
                        <a:solidFill>
                          <a:srgbClr val="00AF50"/>
                        </a:solidFill>
                        <a:effectLst/>
                        <a:latin typeface="+mj-lt"/>
                      </a:endParaRPr>
                    </a:p>
                  </a:txBody>
                  <a:tcPr marL="16283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495.543</a:t>
                      </a:r>
                      <a:endParaRPr lang="vi-VN" sz="1400" b="1" i="0" u="none" strike="noStrike">
                        <a:solidFill>
                          <a:srgbClr val="00AF5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7,87</a:t>
                      </a:r>
                      <a:endParaRPr lang="vi-VN" sz="1400" b="1" i="0" u="none" strike="noStrike">
                        <a:solidFill>
                          <a:srgbClr val="00AF5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39412535"/>
                  </a:ext>
                </a:extLst>
              </a:tr>
              <a:tr h="361858">
                <a:tc>
                  <a:txBody>
                    <a:bodyPr/>
                    <a:lstStyle/>
                    <a:p>
                      <a:pPr algn="ctr" fontAlgn="t"/>
                      <a:r>
                        <a:rPr lang="vi-VN" sz="1400" u="none" strike="noStrike">
                          <a:effectLst/>
                          <a:latin typeface="+mj-lt"/>
                        </a:rPr>
                        <a:t>1</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Vốn đầu tư trong cân đối theo tiêu chí, định mức</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585.680</a:t>
                      </a:r>
                      <a:endParaRPr lang="vi-VN" sz="1400" b="1" i="1" u="none" strike="noStrike">
                        <a:solidFill>
                          <a:srgbClr val="000000"/>
                        </a:solidFill>
                        <a:effectLst/>
                        <a:latin typeface="+mj-lt"/>
                      </a:endParaRPr>
                    </a:p>
                  </a:txBody>
                  <a:tcPr marL="244254"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89.558</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15,29</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38382968"/>
                  </a:ext>
                </a:extLst>
              </a:tr>
              <a:tr h="189975">
                <a:tc>
                  <a:txBody>
                    <a:bodyPr/>
                    <a:lstStyle/>
                    <a:p>
                      <a:pPr algn="ctr" fontAlgn="t"/>
                      <a:r>
                        <a:rPr lang="vi-VN" sz="1400" u="none" strike="noStrike">
                          <a:effectLst/>
                          <a:latin typeface="+mj-lt"/>
                        </a:rPr>
                        <a:t>a)</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Ngân sách cấp tỉnh</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424.090</a:t>
                      </a:r>
                      <a:endParaRPr lang="vi-VN" sz="1400" b="1" i="1" u="none" strike="noStrike">
                        <a:solidFill>
                          <a:srgbClr val="000000"/>
                        </a:solidFill>
                        <a:effectLst/>
                        <a:latin typeface="+mj-lt"/>
                      </a:endParaRPr>
                    </a:p>
                  </a:txBody>
                  <a:tcPr marL="244254"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65.583</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15,46</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55578730"/>
                  </a:ext>
                </a:extLst>
              </a:tr>
              <a:tr h="189975">
                <a:tc>
                  <a:txBody>
                    <a:bodyPr/>
                    <a:lstStyle/>
                    <a:p>
                      <a:pPr algn="ctr" fontAlgn="t"/>
                      <a:r>
                        <a:rPr lang="vi-VN" sz="1400" u="none" strike="noStrike">
                          <a:effectLst/>
                          <a:latin typeface="+mj-lt"/>
                        </a:rPr>
                        <a:t>b)</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Ngân sách cấp Huyện</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161.590</a:t>
                      </a:r>
                      <a:endParaRPr lang="vi-VN" sz="1400" b="1" i="1" u="none" strike="noStrike">
                        <a:solidFill>
                          <a:srgbClr val="000000"/>
                        </a:solidFill>
                        <a:effectLst/>
                        <a:latin typeface="+mj-lt"/>
                      </a:endParaRPr>
                    </a:p>
                  </a:txBody>
                  <a:tcPr marL="244254"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23.975</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14,84</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58584363"/>
                  </a:ext>
                </a:extLst>
              </a:tr>
              <a:tr h="189975">
                <a:tc>
                  <a:txBody>
                    <a:bodyPr/>
                    <a:lstStyle/>
                    <a:p>
                      <a:pPr algn="ctr" fontAlgn="t"/>
                      <a:r>
                        <a:rPr lang="vi-VN" sz="1400" u="none" strike="noStrike">
                          <a:effectLst/>
                          <a:latin typeface="+mj-lt"/>
                        </a:rPr>
                        <a:t>2</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Nguồn thu tiền sử dụng đất</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5.500.000</a:t>
                      </a:r>
                      <a:endParaRPr lang="vi-VN" sz="1400" b="1" i="1" u="none" strike="noStrike">
                        <a:solidFill>
                          <a:srgbClr val="000000"/>
                        </a:solidFill>
                        <a:effectLst/>
                        <a:latin typeface="+mj-lt"/>
                      </a:endParaRPr>
                    </a:p>
                  </a:txBody>
                  <a:tcPr marL="16283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378.840</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6,89</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57721762"/>
                  </a:ext>
                </a:extLst>
              </a:tr>
              <a:tr h="189975">
                <a:tc>
                  <a:txBody>
                    <a:bodyPr/>
                    <a:lstStyle/>
                    <a:p>
                      <a:pPr algn="ctr" fontAlgn="t"/>
                      <a:r>
                        <a:rPr lang="vi-VN" sz="1400" u="none" strike="noStrike">
                          <a:effectLst/>
                          <a:latin typeface="+mj-lt"/>
                        </a:rPr>
                        <a:t>a)</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Ngân sách cấp tỉnh thực hiện</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3.050.000</a:t>
                      </a:r>
                      <a:endParaRPr lang="vi-VN" sz="1400" b="1" i="1" u="none" strike="noStrike">
                        <a:solidFill>
                          <a:srgbClr val="000000"/>
                        </a:solidFill>
                        <a:effectLst/>
                        <a:latin typeface="+mj-lt"/>
                      </a:endParaRPr>
                    </a:p>
                  </a:txBody>
                  <a:tcPr marL="16283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131.141</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4,30</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11288362"/>
                  </a:ext>
                </a:extLst>
              </a:tr>
              <a:tr h="189975">
                <a:tc>
                  <a:txBody>
                    <a:bodyPr/>
                    <a:lstStyle/>
                    <a:p>
                      <a:pPr algn="ctr" fontAlgn="t"/>
                      <a:r>
                        <a:rPr lang="vi-VN" sz="1400" u="none" strike="noStrike">
                          <a:effectLst/>
                          <a:latin typeface="+mj-lt"/>
                        </a:rPr>
                        <a:t>b)</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Ngân sách cấp Huyện thực hiện</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2.450.000</a:t>
                      </a:r>
                      <a:endParaRPr lang="vi-VN" sz="1400" b="1" i="1" u="none" strike="noStrike">
                        <a:solidFill>
                          <a:srgbClr val="000000"/>
                        </a:solidFill>
                        <a:effectLst/>
                        <a:latin typeface="+mj-lt"/>
                      </a:endParaRPr>
                    </a:p>
                  </a:txBody>
                  <a:tcPr marL="16283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247.699</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10,11</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59617350"/>
                  </a:ext>
                </a:extLst>
              </a:tr>
              <a:tr h="189975">
                <a:tc>
                  <a:txBody>
                    <a:bodyPr/>
                    <a:lstStyle/>
                    <a:p>
                      <a:pPr algn="ctr" fontAlgn="t"/>
                      <a:r>
                        <a:rPr lang="vi-VN" sz="1400" u="none" strike="noStrike">
                          <a:effectLst/>
                          <a:latin typeface="+mj-lt"/>
                        </a:rPr>
                        <a:t>3</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Đầu tư từ nguồn thu xổ số kiến thiết</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120.000</a:t>
                      </a:r>
                      <a:endParaRPr lang="vi-VN" sz="1400" b="1" i="1" u="none" strike="noStrike">
                        <a:solidFill>
                          <a:srgbClr val="000000"/>
                        </a:solidFill>
                        <a:effectLst/>
                        <a:latin typeface="+mj-lt"/>
                      </a:endParaRPr>
                    </a:p>
                  </a:txBody>
                  <a:tcPr marL="244254"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17.358</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14,47</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14493224"/>
                  </a:ext>
                </a:extLst>
              </a:tr>
              <a:tr h="189975">
                <a:tc>
                  <a:txBody>
                    <a:bodyPr/>
                    <a:lstStyle/>
                    <a:p>
                      <a:pPr algn="ctr" fontAlgn="t"/>
                      <a:r>
                        <a:rPr lang="vi-VN" sz="1400" u="none" strike="noStrike">
                          <a:effectLst/>
                          <a:latin typeface="+mj-lt"/>
                        </a:rPr>
                        <a:t>a)</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Ngân sách cấp tỉnh thực hiện</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108.000</a:t>
                      </a:r>
                      <a:endParaRPr lang="vi-VN" sz="1400" b="1" i="1" u="none" strike="noStrike">
                        <a:solidFill>
                          <a:srgbClr val="000000"/>
                        </a:solidFill>
                        <a:effectLst/>
                        <a:latin typeface="+mj-lt"/>
                      </a:endParaRPr>
                    </a:p>
                  </a:txBody>
                  <a:tcPr marL="244254"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17.358</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16,07</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09434118"/>
                  </a:ext>
                </a:extLst>
              </a:tr>
              <a:tr h="189975">
                <a:tc>
                  <a:txBody>
                    <a:bodyPr/>
                    <a:lstStyle/>
                    <a:p>
                      <a:pPr algn="ctr" fontAlgn="t"/>
                      <a:r>
                        <a:rPr lang="vi-VN" sz="1400" u="none" strike="noStrike">
                          <a:effectLst/>
                          <a:latin typeface="+mj-lt"/>
                        </a:rPr>
                        <a:t>b)</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Ngân sách cấp Huyện thực hiện</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12.000</a:t>
                      </a:r>
                      <a:endParaRPr lang="vi-VN" sz="1400" b="1" i="1" u="none" strike="noStrike">
                        <a:solidFill>
                          <a:srgbClr val="000000"/>
                        </a:solidFill>
                        <a:effectLst/>
                        <a:latin typeface="+mj-lt"/>
                      </a:endParaRPr>
                    </a:p>
                  </a:txBody>
                  <a:tcPr marL="325672"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vi-VN" sz="1400" u="none" strike="noStrike">
                          <a:effectLst/>
                          <a:latin typeface="+mj-lt"/>
                        </a:rPr>
                        <a:t> </a:t>
                      </a:r>
                      <a:endParaRPr lang="vi-VN" sz="1400" b="0" i="0" u="none" strike="noStrike">
                        <a:solidFill>
                          <a:srgbClr val="000000"/>
                        </a:solidFill>
                        <a:effectLst/>
                        <a:latin typeface="+mj-lt"/>
                      </a:endParaRPr>
                    </a:p>
                  </a:txBody>
                  <a:tcPr marL="9046" marR="9046" marT="90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0,00</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25239559"/>
                  </a:ext>
                </a:extLst>
              </a:tr>
              <a:tr h="189975">
                <a:tc>
                  <a:txBody>
                    <a:bodyPr/>
                    <a:lstStyle/>
                    <a:p>
                      <a:pPr algn="ctr" fontAlgn="t"/>
                      <a:r>
                        <a:rPr lang="vi-VN" sz="1400" u="none" strike="noStrike">
                          <a:effectLst/>
                          <a:latin typeface="+mj-lt"/>
                        </a:rPr>
                        <a:t>4</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Bội chi ngân sách</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91.500</a:t>
                      </a:r>
                      <a:endParaRPr lang="vi-VN" sz="1400" b="1" i="1" u="none" strike="noStrike">
                        <a:solidFill>
                          <a:srgbClr val="000000"/>
                        </a:solidFill>
                        <a:effectLst/>
                        <a:latin typeface="+mj-lt"/>
                      </a:endParaRPr>
                    </a:p>
                  </a:txBody>
                  <a:tcPr marL="325672"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9.787</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10,70</a:t>
                      </a:r>
                      <a:endParaRPr lang="vi-VN" sz="1400" b="1" i="1"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2872011"/>
                  </a:ext>
                </a:extLst>
              </a:tr>
              <a:tr h="189975">
                <a:tc>
                  <a:txBody>
                    <a:bodyPr/>
                    <a:lstStyle/>
                    <a:p>
                      <a:pPr algn="ctr" fontAlgn="t"/>
                      <a:r>
                        <a:rPr lang="vi-VN" sz="1400" u="none" strike="noStrike">
                          <a:effectLst/>
                          <a:latin typeface="+mj-lt"/>
                        </a:rPr>
                        <a:t>II</a:t>
                      </a:r>
                      <a:endParaRPr lang="vi-VN" sz="1400" b="1" i="0"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Nguồn tiền bán nhà thuộc sở hữu nhà nước</a:t>
                      </a:r>
                      <a:endParaRPr lang="vi-VN" sz="1400" b="1" i="0"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3.000</a:t>
                      </a:r>
                      <a:endParaRPr lang="vi-VN" sz="1400" b="1" i="0" u="none" strike="noStrike">
                        <a:solidFill>
                          <a:srgbClr val="00AF50"/>
                        </a:solidFill>
                        <a:effectLst/>
                        <a:latin typeface="+mj-lt"/>
                      </a:endParaRPr>
                    </a:p>
                  </a:txBody>
                  <a:tcPr marL="407090"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0</a:t>
                      </a:r>
                      <a:endParaRPr lang="vi-VN" sz="1400" b="1" i="0" u="none" strike="noStrike">
                        <a:solidFill>
                          <a:srgbClr val="00AF5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0,00</a:t>
                      </a:r>
                      <a:endParaRPr lang="vi-VN" sz="1400" b="1" i="0" u="none" strike="noStrike">
                        <a:solidFill>
                          <a:srgbClr val="00AF5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2374586"/>
                  </a:ext>
                </a:extLst>
              </a:tr>
              <a:tr h="189975">
                <a:tc>
                  <a:txBody>
                    <a:bodyPr/>
                    <a:lstStyle/>
                    <a:p>
                      <a:pPr algn="ctr" fontAlgn="t"/>
                      <a:r>
                        <a:rPr lang="vi-VN" sz="1400" u="none" strike="noStrike">
                          <a:effectLst/>
                          <a:latin typeface="+mj-lt"/>
                        </a:rPr>
                        <a:t>III</a:t>
                      </a:r>
                      <a:endParaRPr lang="vi-VN" sz="1400" b="1" i="0"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Nguồn vốn khác của ngân sách tỉnh</a:t>
                      </a:r>
                      <a:endParaRPr lang="vi-VN" sz="1400" b="1" i="0"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vi-VN" sz="1400" u="none" strike="noStrike">
                          <a:effectLst/>
                          <a:latin typeface="+mj-lt"/>
                        </a:rPr>
                        <a:t>40.000</a:t>
                      </a:r>
                      <a:endParaRPr lang="vi-VN" sz="1400" b="1" i="0" u="none" strike="noStrike">
                        <a:solidFill>
                          <a:srgbClr val="00AF50"/>
                        </a:solidFill>
                        <a:effectLst/>
                        <a:latin typeface="+mj-lt"/>
                      </a:endParaRPr>
                    </a:p>
                  </a:txBody>
                  <a:tcPr marL="325672"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0</a:t>
                      </a:r>
                      <a:endParaRPr lang="vi-VN" sz="1400" b="1" i="0" u="none" strike="noStrike">
                        <a:solidFill>
                          <a:srgbClr val="00AF5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vi-VN" sz="1400" u="none" strike="noStrike">
                          <a:effectLst/>
                          <a:latin typeface="+mj-lt"/>
                        </a:rPr>
                        <a:t>0,00</a:t>
                      </a:r>
                      <a:endParaRPr lang="vi-VN" sz="1400" b="1" i="0" u="none" strike="noStrike">
                        <a:solidFill>
                          <a:srgbClr val="00AF5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03700237"/>
                  </a:ext>
                </a:extLst>
              </a:tr>
              <a:tr h="189975">
                <a:tc>
                  <a:txBody>
                    <a:bodyPr/>
                    <a:lstStyle/>
                    <a:p>
                      <a:pPr algn="ctr" fontAlgn="t"/>
                      <a:r>
                        <a:rPr lang="vi-VN" sz="1400" u="none" strike="noStrike">
                          <a:effectLst/>
                          <a:latin typeface="+mj-lt"/>
                        </a:rPr>
                        <a:t>**</a:t>
                      </a:r>
                      <a:endParaRPr lang="vi-VN" sz="1400" b="0" i="0"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l" fontAlgn="t"/>
                      <a:r>
                        <a:rPr lang="vi-VN" sz="1400" u="none" strike="noStrike">
                          <a:effectLst/>
                          <a:latin typeface="+mj-lt"/>
                        </a:rPr>
                        <a:t>Vốn ngân sách trung ương</a:t>
                      </a:r>
                      <a:endParaRPr lang="vi-VN" sz="1400" b="1" i="0" u="none" strike="noStrike">
                        <a:solidFill>
                          <a:srgbClr val="000000"/>
                        </a:solidFill>
                        <a:effectLst/>
                        <a:latin typeface="+mj-lt"/>
                      </a:endParaRPr>
                    </a:p>
                  </a:txBody>
                  <a:tcPr marL="407090"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l" fontAlgn="t"/>
                      <a:r>
                        <a:rPr lang="vi-VN" sz="1400" u="none" strike="noStrike">
                          <a:effectLst/>
                          <a:latin typeface="+mj-lt"/>
                        </a:rPr>
                        <a:t>2.576.650</a:t>
                      </a:r>
                      <a:endParaRPr lang="vi-VN" sz="1400" b="1" i="0" u="none" strike="noStrike">
                        <a:solidFill>
                          <a:srgbClr val="000000"/>
                        </a:solidFill>
                        <a:effectLst/>
                        <a:latin typeface="+mj-lt"/>
                      </a:endParaRPr>
                    </a:p>
                  </a:txBody>
                  <a:tcPr marL="16283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r" fontAlgn="t"/>
                      <a:r>
                        <a:rPr lang="vi-VN" sz="1400" u="none" strike="noStrike">
                          <a:effectLst/>
                          <a:latin typeface="+mj-lt"/>
                        </a:rPr>
                        <a:t>617.865</a:t>
                      </a:r>
                      <a:endParaRPr lang="vi-VN" sz="1400" b="1" i="0"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r" fontAlgn="t"/>
                      <a:r>
                        <a:rPr lang="vi-VN" sz="1400" u="none" strike="noStrike">
                          <a:effectLst/>
                          <a:latin typeface="+mj-lt"/>
                        </a:rPr>
                        <a:t>23,98</a:t>
                      </a:r>
                      <a:endParaRPr lang="vi-VN" sz="1400" b="1" i="0" u="none" strike="noStrike">
                        <a:solidFill>
                          <a:srgbClr val="000000"/>
                        </a:solidFill>
                        <a:effectLst/>
                        <a:latin typeface="+mj-lt"/>
                      </a:endParaRPr>
                    </a:p>
                  </a:txBody>
                  <a:tcPr marL="9046" marR="9046" marT="904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773896129"/>
                  </a:ext>
                </a:extLst>
              </a:tr>
            </a:tbl>
          </a:graphicData>
        </a:graphic>
      </p:graphicFrame>
    </p:spTree>
    <p:extLst>
      <p:ext uri="{BB962C8B-B14F-4D97-AF65-F5344CB8AC3E}">
        <p14:creationId xmlns:p14="http://schemas.microsoft.com/office/powerpoint/2010/main" val="1157287981"/>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02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FF705920-E1B4-B4D0-9EA4-A27AA5761577}"/>
              </a:ext>
            </a:extLst>
          </p:cNvPr>
          <p:cNvCxnSpPr>
            <a:cxnSpLocks/>
          </p:cNvCxnSpPr>
          <p:nvPr/>
        </p:nvCxnSpPr>
        <p:spPr>
          <a:xfrm>
            <a:off x="777362" y="524236"/>
            <a:ext cx="8324693"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1DC26C3-E6F4-C27A-8624-3A65D81B6008}"/>
              </a:ext>
            </a:extLst>
          </p:cNvPr>
          <p:cNvSpPr/>
          <p:nvPr/>
        </p:nvSpPr>
        <p:spPr>
          <a:xfrm>
            <a:off x="1119325" y="640147"/>
            <a:ext cx="6663042"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doanh nghiệp</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163982630"/>
              </p:ext>
            </p:extLst>
          </p:nvPr>
        </p:nvGraphicFramePr>
        <p:xfrm>
          <a:off x="452359" y="1557632"/>
          <a:ext cx="10772109" cy="3596640"/>
        </p:xfrm>
        <a:graphic>
          <a:graphicData uri="http://schemas.openxmlformats.org/drawingml/2006/table">
            <a:tbl>
              <a:tblPr firstRow="1" bandRow="1"/>
              <a:tblGrid>
                <a:gridCol w="10772109">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tx1"/>
                          </a:solidFill>
                          <a:effectLst/>
                          <a:latin typeface="Times New Roman" panose="02020603050405020304" pitchFamily="18" charset="0"/>
                          <a:ea typeface="+mn-ea"/>
                          <a:cs typeface="Times New Roman" panose="02020603050405020304" pitchFamily="18" charset="0"/>
                        </a:rPr>
                        <a:t> </a:t>
                      </a:r>
                      <a:r>
                        <a:rPr lang="nl-NL" sz="2800" b="1" i="1">
                          <a:solidFill>
                            <a:schemeClr val="tx1"/>
                          </a:solidFill>
                          <a:effectLst/>
                          <a:latin typeface="Times New Roman" panose="02020603050405020304" pitchFamily="18" charset="0"/>
                          <a:ea typeface="Times New Roman" panose="02020603050405020304" pitchFamily="18" charset="0"/>
                        </a:rPr>
                        <a:t>Về đầu tư nước ngoài (FDI):</a:t>
                      </a:r>
                      <a:r>
                        <a:rPr lang="nl-NL" sz="2800" b="1" spc="-10">
                          <a:solidFill>
                            <a:schemeClr val="tx1"/>
                          </a:solidFill>
                          <a:effectLst/>
                          <a:latin typeface="Times New Roman" panose="02020603050405020304" pitchFamily="18" charset="0"/>
                          <a:ea typeface="Times New Roman" panose="02020603050405020304" pitchFamily="18" charset="0"/>
                        </a:rPr>
                        <a:t> </a:t>
                      </a:r>
                      <a:r>
                        <a:rPr lang="it-IT" sz="2800" b="0" kern="1200" spc="-10">
                          <a:solidFill>
                            <a:schemeClr val="tx1"/>
                          </a:solidFill>
                          <a:effectLst/>
                          <a:latin typeface="Times New Roman" panose="02020603050405020304" pitchFamily="18" charset="0"/>
                          <a:ea typeface="+mn-ea"/>
                          <a:cs typeface="+mn-cs"/>
                        </a:rPr>
                        <a:t>Trong </a:t>
                      </a:r>
                      <a:r>
                        <a:rPr lang="vi-VN" sz="2800" b="0" kern="1200" spc="-10">
                          <a:solidFill>
                            <a:schemeClr val="tx1"/>
                          </a:solidFill>
                          <a:effectLst/>
                          <a:latin typeface="Times New Roman" panose="02020603050405020304" pitchFamily="18" charset="0"/>
                          <a:ea typeface="+mn-ea"/>
                          <a:cs typeface="+mn-cs"/>
                        </a:rPr>
                        <a:t>tháng chưa phát sinh dự án mới. Đến nay</a:t>
                      </a:r>
                      <a:r>
                        <a:rPr lang="en-US" sz="2800" b="0" kern="1200" spc="-10">
                          <a:solidFill>
                            <a:schemeClr val="tx1"/>
                          </a:solidFill>
                          <a:effectLst/>
                          <a:latin typeface="Times New Roman" panose="02020603050405020304" pitchFamily="18" charset="0"/>
                          <a:ea typeface="+mn-ea"/>
                          <a:cs typeface="+mn-cs"/>
                        </a:rPr>
                        <a:t>, cả tỉnh có 86 dự án FDI với tổng vốn đăng ký 1,088 tỷ USD</a:t>
                      </a:r>
                      <a:endParaRPr lang="vi-VN" sz="2800" b="0" kern="1200" spc="-1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1" i="1">
                          <a:effectLst/>
                          <a:latin typeface="Times New Roman" panose="02020603050405020304" pitchFamily="18" charset="0"/>
                          <a:ea typeface="Times New Roman" panose="02020603050405020304" pitchFamily="18" charset="0"/>
                        </a:rPr>
                        <a:t> </a:t>
                      </a:r>
                      <a:r>
                        <a:rPr lang="nl-NL" sz="2800" b="1" i="1">
                          <a:effectLst/>
                          <a:latin typeface="Times New Roman" panose="02020603050405020304" pitchFamily="18" charset="0"/>
                          <a:ea typeface="Times New Roman" panose="02020603050405020304" pitchFamily="18" charset="0"/>
                        </a:rPr>
                        <a:t>Về đầu tư trong nước:</a:t>
                      </a:r>
                      <a:r>
                        <a:rPr lang="nl-NL" sz="2800" b="1" spc="-10">
                          <a:effectLst/>
                          <a:latin typeface="Times New Roman" panose="02020603050405020304" pitchFamily="18" charset="0"/>
                          <a:ea typeface="Times New Roman" panose="02020603050405020304" pitchFamily="18" charset="0"/>
                        </a:rPr>
                        <a:t> </a:t>
                      </a:r>
                      <a:r>
                        <a:rPr lang="nl-NL" sz="2800" b="0" kern="1200" spc="-10">
                          <a:solidFill>
                            <a:schemeClr val="tx1"/>
                          </a:solidFill>
                          <a:effectLst/>
                          <a:latin typeface="Times New Roman" panose="02020603050405020304" pitchFamily="18" charset="0"/>
                          <a:ea typeface="+mn-ea"/>
                          <a:cs typeface="+mn-cs"/>
                        </a:rPr>
                        <a:t>Trong 02 tháng đầu năm đã chấp thuận chủ trương đầu tư cho 1</a:t>
                      </a:r>
                      <a:r>
                        <a:rPr lang="vi-VN" sz="2800" b="0" kern="1200" spc="-10">
                          <a:solidFill>
                            <a:schemeClr val="tx1"/>
                          </a:solidFill>
                          <a:effectLst/>
                          <a:latin typeface="Times New Roman" panose="02020603050405020304" pitchFamily="18" charset="0"/>
                          <a:ea typeface="+mn-ea"/>
                          <a:cs typeface="+mn-cs"/>
                        </a:rPr>
                        <a:t>4</a:t>
                      </a:r>
                      <a:r>
                        <a:rPr lang="nl-NL" sz="2800" b="0" kern="1200" spc="-10">
                          <a:solidFill>
                            <a:schemeClr val="tx1"/>
                          </a:solidFill>
                          <a:effectLst/>
                          <a:latin typeface="Times New Roman" panose="02020603050405020304" pitchFamily="18" charset="0"/>
                          <a:ea typeface="+mn-ea"/>
                          <a:cs typeface="+mn-cs"/>
                        </a:rPr>
                        <a:t> dự án với tổng vốn đầu tư trên </a:t>
                      </a:r>
                      <a:r>
                        <a:rPr lang="vi-VN" sz="2800" b="0" kern="1200" spc="-10">
                          <a:solidFill>
                            <a:schemeClr val="tx1"/>
                          </a:solidFill>
                          <a:effectLst/>
                          <a:latin typeface="Times New Roman" panose="02020603050405020304" pitchFamily="18" charset="0"/>
                          <a:ea typeface="+mn-ea"/>
                          <a:cs typeface="+mn-cs"/>
                        </a:rPr>
                        <a:t>6.336,2</a:t>
                      </a:r>
                      <a:r>
                        <a:rPr lang="nl-NL" sz="2800" b="0" kern="1200" spc="-10">
                          <a:solidFill>
                            <a:schemeClr val="tx1"/>
                          </a:solidFill>
                          <a:effectLst/>
                          <a:latin typeface="Times New Roman" panose="02020603050405020304" pitchFamily="18" charset="0"/>
                          <a:ea typeface="+mn-ea"/>
                          <a:cs typeface="+mn-cs"/>
                        </a:rPr>
                        <a:t> tỷ đồng, </a:t>
                      </a:r>
                      <a:r>
                        <a:rPr lang="vi-VN" sz="2800" b="0" kern="1200" spc="-10">
                          <a:solidFill>
                            <a:schemeClr val="tx1"/>
                          </a:solidFill>
                          <a:effectLst/>
                          <a:latin typeface="Times New Roman" panose="02020603050405020304" pitchFamily="18" charset="0"/>
                          <a:ea typeface="+mn-ea"/>
                          <a:cs typeface="+mn-cs"/>
                        </a:rPr>
                        <a:t>trong đó có 0</a:t>
                      </a:r>
                      <a:r>
                        <a:rPr lang="en-US" sz="2800" b="0" kern="1200" spc="-10">
                          <a:solidFill>
                            <a:schemeClr val="tx1"/>
                          </a:solidFill>
                          <a:effectLst/>
                          <a:latin typeface="Times New Roman" panose="02020603050405020304" pitchFamily="18" charset="0"/>
                          <a:ea typeface="+mn-ea"/>
                          <a:cs typeface="+mn-cs"/>
                        </a:rPr>
                        <a:t>4</a:t>
                      </a:r>
                      <a:r>
                        <a:rPr lang="vi-VN" sz="2800" b="0" kern="1200" spc="-10">
                          <a:solidFill>
                            <a:schemeClr val="tx1"/>
                          </a:solidFill>
                          <a:effectLst/>
                          <a:latin typeface="Times New Roman" panose="02020603050405020304" pitchFamily="18" charset="0"/>
                          <a:ea typeface="+mn-ea"/>
                          <a:cs typeface="+mn-cs"/>
                        </a:rPr>
                        <a:t> dự án trong K</a:t>
                      </a:r>
                      <a:r>
                        <a:rPr lang="en-US" sz="2800" b="0" kern="1200" spc="-10">
                          <a:solidFill>
                            <a:schemeClr val="tx1"/>
                          </a:solidFill>
                          <a:effectLst/>
                          <a:latin typeface="Times New Roman" panose="02020603050405020304" pitchFamily="18" charset="0"/>
                          <a:ea typeface="+mn-ea"/>
                          <a:cs typeface="+mn-cs"/>
                        </a:rPr>
                        <a:t>hu kinh tế </a:t>
                      </a:r>
                      <a:r>
                        <a:rPr lang="vi-VN" sz="2800" b="0" kern="1200" spc="-10">
                          <a:solidFill>
                            <a:schemeClr val="tx1"/>
                          </a:solidFill>
                          <a:effectLst/>
                          <a:latin typeface="Times New Roman" panose="02020603050405020304" pitchFamily="18" charset="0"/>
                          <a:ea typeface="+mn-ea"/>
                          <a:cs typeface="+mn-cs"/>
                        </a:rPr>
                        <a:t>và K</a:t>
                      </a:r>
                      <a:r>
                        <a:rPr lang="en-US" sz="2800" b="0" kern="1200" spc="-10">
                          <a:solidFill>
                            <a:schemeClr val="tx1"/>
                          </a:solidFill>
                          <a:effectLst/>
                          <a:latin typeface="Times New Roman" panose="02020603050405020304" pitchFamily="18" charset="0"/>
                          <a:ea typeface="+mn-ea"/>
                          <a:cs typeface="+mn-cs"/>
                        </a:rPr>
                        <a:t>hu công nghiệp</a:t>
                      </a:r>
                      <a:r>
                        <a:rPr lang="vi-VN" sz="2800" b="0" kern="1200" spc="-10">
                          <a:solidFill>
                            <a:schemeClr val="tx1"/>
                          </a:solidFill>
                          <a:effectLst/>
                          <a:latin typeface="Times New Roman" panose="02020603050405020304" pitchFamily="18" charset="0"/>
                          <a:ea typeface="+mn-ea"/>
                          <a:cs typeface="+mn-cs"/>
                        </a:rPr>
                        <a:t> với tổng vốn đăng ký </a:t>
                      </a:r>
                      <a:r>
                        <a:rPr lang="en-US" sz="2800" b="0" kern="1200" spc="-10">
                          <a:solidFill>
                            <a:schemeClr val="tx1"/>
                          </a:solidFill>
                          <a:effectLst/>
                          <a:latin typeface="Times New Roman" panose="02020603050405020304" pitchFamily="18" charset="0"/>
                          <a:ea typeface="+mn-ea"/>
                          <a:cs typeface="+mn-cs"/>
                        </a:rPr>
                        <a:t>trên 290</a:t>
                      </a:r>
                      <a:r>
                        <a:rPr lang="vi-VN" sz="2800" b="0" kern="1200" spc="-10">
                          <a:solidFill>
                            <a:schemeClr val="tx1"/>
                          </a:solidFill>
                          <a:effectLst/>
                          <a:latin typeface="Times New Roman" panose="02020603050405020304" pitchFamily="18" charset="0"/>
                          <a:ea typeface="+mn-ea"/>
                          <a:cs typeface="+mn-cs"/>
                        </a:rPr>
                        <a:t> tỷ đồng; 10 dự án </a:t>
                      </a:r>
                      <a:r>
                        <a:rPr lang="en-US" sz="2800" b="0" kern="1200" spc="-10">
                          <a:solidFill>
                            <a:schemeClr val="tx1"/>
                          </a:solidFill>
                          <a:effectLst/>
                          <a:latin typeface="Times New Roman" panose="02020603050405020304" pitchFamily="18" charset="0"/>
                          <a:ea typeface="+mn-ea"/>
                          <a:cs typeface="+mn-cs"/>
                        </a:rPr>
                        <a:t>ngoài </a:t>
                      </a:r>
                      <a:r>
                        <a:rPr lang="vi-VN" sz="2800" b="0" kern="1200" spc="-10">
                          <a:solidFill>
                            <a:schemeClr val="tx1"/>
                          </a:solidFill>
                          <a:effectLst/>
                          <a:latin typeface="Times New Roman" panose="02020603050405020304" pitchFamily="18" charset="0"/>
                          <a:ea typeface="+mn-ea"/>
                          <a:cs typeface="+mn-cs"/>
                        </a:rPr>
                        <a:t>K</a:t>
                      </a:r>
                      <a:r>
                        <a:rPr lang="en-US" sz="2800" b="0" kern="1200" spc="-10">
                          <a:solidFill>
                            <a:schemeClr val="tx1"/>
                          </a:solidFill>
                          <a:effectLst/>
                          <a:latin typeface="Times New Roman" panose="02020603050405020304" pitchFamily="18" charset="0"/>
                          <a:ea typeface="+mn-ea"/>
                          <a:cs typeface="+mn-cs"/>
                        </a:rPr>
                        <a:t>hu kinh tế</a:t>
                      </a:r>
                      <a:r>
                        <a:rPr lang="vi-VN" sz="2800" b="0" kern="1200" spc="-10">
                          <a:solidFill>
                            <a:schemeClr val="tx1"/>
                          </a:solidFill>
                          <a:effectLst/>
                          <a:latin typeface="Times New Roman" panose="02020603050405020304" pitchFamily="18" charset="0"/>
                          <a:ea typeface="+mn-ea"/>
                          <a:cs typeface="+mn-cs"/>
                        </a:rPr>
                        <a:t> và K</a:t>
                      </a:r>
                      <a:r>
                        <a:rPr lang="en-US" sz="2800" b="0" kern="1200" spc="-10">
                          <a:solidFill>
                            <a:schemeClr val="tx1"/>
                          </a:solidFill>
                          <a:effectLst/>
                          <a:latin typeface="Times New Roman" panose="02020603050405020304" pitchFamily="18" charset="0"/>
                          <a:ea typeface="+mn-ea"/>
                          <a:cs typeface="+mn-cs"/>
                        </a:rPr>
                        <a:t>hu công nghiệp </a:t>
                      </a:r>
                      <a:r>
                        <a:rPr lang="vi-VN" sz="2800" b="0" kern="1200" spc="-10">
                          <a:solidFill>
                            <a:schemeClr val="tx1"/>
                          </a:solidFill>
                          <a:effectLst/>
                          <a:latin typeface="Times New Roman" panose="02020603050405020304" pitchFamily="18" charset="0"/>
                          <a:ea typeface="+mn-ea"/>
                          <a:cs typeface="+mn-cs"/>
                        </a:rPr>
                        <a:t>với tổng vốn đầu tư </a:t>
                      </a:r>
                      <a:r>
                        <a:rPr lang="en-US" sz="2800" b="0" kern="1200" spc="-10">
                          <a:solidFill>
                            <a:schemeClr val="tx1"/>
                          </a:solidFill>
                          <a:effectLst/>
                          <a:latin typeface="Times New Roman" panose="02020603050405020304" pitchFamily="18" charset="0"/>
                          <a:ea typeface="+mn-ea"/>
                          <a:cs typeface="+mn-cs"/>
                        </a:rPr>
                        <a:t>trên </a:t>
                      </a:r>
                      <a:r>
                        <a:rPr lang="vi-VN" sz="2800" b="0" kern="1200" spc="-10">
                          <a:solidFill>
                            <a:schemeClr val="tx1"/>
                          </a:solidFill>
                          <a:effectLst/>
                          <a:latin typeface="Times New Roman" panose="02020603050405020304" pitchFamily="18" charset="0"/>
                          <a:ea typeface="+mn-ea"/>
                          <a:cs typeface="+mn-cs"/>
                        </a:rPr>
                        <a:t>6.046 tỷ đồng. </a:t>
                      </a:r>
                      <a:r>
                        <a:rPr lang="nl-NL" sz="2800" b="0" kern="1200" spc="-10">
                          <a:solidFill>
                            <a:schemeClr val="tx1"/>
                          </a:solidFill>
                          <a:effectLst/>
                          <a:latin typeface="Times New Roman" panose="02020603050405020304" pitchFamily="18" charset="0"/>
                          <a:ea typeface="+mn-ea"/>
                          <a:cs typeface="+mn-cs"/>
                        </a:rPr>
                        <a:t>Bên cạnh đó, thực hiện </a:t>
                      </a:r>
                      <a:r>
                        <a:rPr lang="vi-VN" sz="2800" b="0" kern="1200" spc="-10">
                          <a:solidFill>
                            <a:schemeClr val="tx1"/>
                          </a:solidFill>
                          <a:effectLst/>
                          <a:latin typeface="Times New Roman" panose="02020603050405020304" pitchFamily="18" charset="0"/>
                          <a:ea typeface="+mn-ea"/>
                          <a:cs typeface="+mn-cs"/>
                        </a:rPr>
                        <a:t>tăng vốn đầu tư 0</a:t>
                      </a:r>
                      <a:r>
                        <a:rPr lang="en-US" sz="2800" b="0" kern="1200" spc="-10">
                          <a:solidFill>
                            <a:schemeClr val="tx1"/>
                          </a:solidFill>
                          <a:effectLst/>
                          <a:latin typeface="Times New Roman" panose="02020603050405020304" pitchFamily="18" charset="0"/>
                          <a:ea typeface="+mn-ea"/>
                          <a:cs typeface="+mn-cs"/>
                        </a:rPr>
                        <a:t>2</a:t>
                      </a:r>
                      <a:r>
                        <a:rPr lang="vi-VN" sz="2800" b="0" kern="1200" spc="-10">
                          <a:solidFill>
                            <a:schemeClr val="tx1"/>
                          </a:solidFill>
                          <a:effectLst/>
                          <a:latin typeface="Times New Roman" panose="02020603050405020304" pitchFamily="18" charset="0"/>
                          <a:ea typeface="+mn-ea"/>
                          <a:cs typeface="+mn-cs"/>
                        </a:rPr>
                        <a:t> dự án với tổng vốn tăng thêm </a:t>
                      </a:r>
                      <a:r>
                        <a:rPr lang="nl-NL" sz="2800" b="0" kern="1200" spc="-10">
                          <a:solidFill>
                            <a:schemeClr val="tx1"/>
                          </a:solidFill>
                          <a:effectLst/>
                          <a:latin typeface="Times New Roman" panose="02020603050405020304" pitchFamily="18" charset="0"/>
                          <a:ea typeface="+mn-ea"/>
                          <a:cs typeface="+mn-cs"/>
                        </a:rPr>
                        <a:t>2.710</a:t>
                      </a:r>
                      <a:r>
                        <a:rPr lang="vi-VN" sz="2800" b="0" kern="1200" spc="-10">
                          <a:solidFill>
                            <a:schemeClr val="tx1"/>
                          </a:solidFill>
                          <a:effectLst/>
                          <a:latin typeface="Times New Roman" panose="02020603050405020304" pitchFamily="18" charset="0"/>
                          <a:ea typeface="+mn-ea"/>
                          <a:cs typeface="+mn-cs"/>
                        </a:rPr>
                        <a:t> tỷ đồng</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1786243308"/>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02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FF705920-E1B4-B4D0-9EA4-A27AA5761577}"/>
              </a:ext>
            </a:extLst>
          </p:cNvPr>
          <p:cNvCxnSpPr>
            <a:cxnSpLocks/>
          </p:cNvCxnSpPr>
          <p:nvPr/>
        </p:nvCxnSpPr>
        <p:spPr>
          <a:xfrm>
            <a:off x="777362" y="524236"/>
            <a:ext cx="8433750"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1DC26C3-E6F4-C27A-8624-3A65D81B6008}"/>
              </a:ext>
            </a:extLst>
          </p:cNvPr>
          <p:cNvSpPr/>
          <p:nvPr/>
        </p:nvSpPr>
        <p:spPr>
          <a:xfrm>
            <a:off x="777362" y="885575"/>
            <a:ext cx="7027180"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phát triển doanh nghiệp</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144977312"/>
              </p:ext>
            </p:extLst>
          </p:nvPr>
        </p:nvGraphicFramePr>
        <p:xfrm>
          <a:off x="137021" y="1451295"/>
          <a:ext cx="6423171" cy="4998720"/>
        </p:xfrm>
        <a:graphic>
          <a:graphicData uri="http://schemas.openxmlformats.org/drawingml/2006/table">
            <a:tbl>
              <a:tblPr firstRow="1" bandRow="1"/>
              <a:tblGrid>
                <a:gridCol w="6423171">
                  <a:extLst>
                    <a:ext uri="{9D8B030D-6E8A-4147-A177-3AD203B41FA5}">
                      <a16:colId xmlns:a16="http://schemas.microsoft.com/office/drawing/2014/main" val="3655493598"/>
                    </a:ext>
                  </a:extLst>
                </a:gridCol>
              </a:tblGrid>
              <a:tr h="45762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vi-VN" sz="2800" b="0" i="0" spc="-1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3027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af-ZA" sz="2000" b="1" i="1" kern="1200" spc="-10">
                          <a:solidFill>
                            <a:schemeClr val="dk1"/>
                          </a:solidFill>
                          <a:effectLst/>
                          <a:latin typeface="Times New Roman" panose="02020603050405020304" pitchFamily="18" charset="0"/>
                          <a:ea typeface="+mn-ea"/>
                          <a:cs typeface="+mn-cs"/>
                        </a:rPr>
                        <a:t>Về phát triển doanh nghiệp</a:t>
                      </a:r>
                      <a:r>
                        <a:rPr lang="af-ZA" sz="2000" kern="1200" spc="-10">
                          <a:solidFill>
                            <a:schemeClr val="dk1"/>
                          </a:solidFill>
                          <a:effectLst/>
                          <a:latin typeface="Times New Roman" panose="02020603050405020304" pitchFamily="18" charset="0"/>
                          <a:ea typeface="+mn-ea"/>
                          <a:cs typeface="+mn-cs"/>
                        </a:rPr>
                        <a:t>:</a:t>
                      </a:r>
                      <a:r>
                        <a:rPr lang="vi-VN" sz="2000" kern="1200" spc="-10">
                          <a:solidFill>
                            <a:schemeClr val="dk1"/>
                          </a:solidFill>
                          <a:effectLst/>
                          <a:latin typeface="Times New Roman" panose="02020603050405020304" pitchFamily="18" charset="0"/>
                          <a:ea typeface="+mn-ea"/>
                          <a:cs typeface="+mn-cs"/>
                        </a:rPr>
                        <a:t> Trong tháng 02 có 100 doanh nghiệp thành lập mới với số vốn đăng ký 1.311,7 tỷ đồng.</a:t>
                      </a:r>
                    </a:p>
                    <a:p>
                      <a:pPr marL="457200" marR="0" lvl="0" indent="-457200" algn="just" defTabSz="1219170" rtl="0" eaLnBrk="1" fontAlgn="auto" latinLnBrk="0" hangingPunct="1">
                        <a:lnSpc>
                          <a:spcPct val="100000"/>
                        </a:lnSpc>
                        <a:spcBef>
                          <a:spcPts val="0"/>
                        </a:spcBef>
                        <a:spcAft>
                          <a:spcPts val="1200"/>
                        </a:spcAft>
                        <a:buClrTx/>
                        <a:buSzTx/>
                        <a:buFont typeface="Wingdings" panose="05000000000000000000" pitchFamily="2" charset="2"/>
                        <a:buChar char="q"/>
                        <a:tabLst/>
                        <a:defRPr/>
                      </a:pPr>
                      <a:r>
                        <a:rPr lang="vi-VN" sz="2000" kern="1200" spc="-10">
                          <a:solidFill>
                            <a:schemeClr val="dk1"/>
                          </a:solidFill>
                          <a:effectLst/>
                          <a:latin typeface="Times New Roman" panose="02020603050405020304" pitchFamily="18" charset="0"/>
                          <a:ea typeface="+mn-ea"/>
                          <a:cs typeface="+mn-cs"/>
                        </a:rPr>
                        <a:t>Lũy kế 02 tháng đầu năm </a:t>
                      </a:r>
                      <a:r>
                        <a:rPr lang="nl-NL" sz="2000" kern="1200" spc="-10">
                          <a:solidFill>
                            <a:schemeClr val="dk1"/>
                          </a:solidFill>
                          <a:effectLst/>
                          <a:latin typeface="Times New Roman" panose="02020603050405020304" pitchFamily="18" charset="0"/>
                          <a:ea typeface="+mn-ea"/>
                          <a:cs typeface="+mn-cs"/>
                        </a:rPr>
                        <a:t>có 1</a:t>
                      </a:r>
                      <a:r>
                        <a:rPr lang="vi-VN" sz="2000" kern="1200" spc="-10">
                          <a:solidFill>
                            <a:schemeClr val="dk1"/>
                          </a:solidFill>
                          <a:effectLst/>
                          <a:latin typeface="Times New Roman" panose="02020603050405020304" pitchFamily="18" charset="0"/>
                          <a:ea typeface="+mn-ea"/>
                          <a:cs typeface="+mn-cs"/>
                        </a:rPr>
                        <a:t>68</a:t>
                      </a:r>
                      <a:r>
                        <a:rPr lang="nl-NL" sz="2000" kern="1200" spc="-10">
                          <a:solidFill>
                            <a:schemeClr val="dk1"/>
                          </a:solidFill>
                          <a:effectLst/>
                          <a:latin typeface="Times New Roman" panose="02020603050405020304" pitchFamily="18" charset="0"/>
                          <a:ea typeface="+mn-ea"/>
                          <a:cs typeface="+mn-cs"/>
                        </a:rPr>
                        <a:t> doanh nghiệp thành lập mới với tổng vốn đăng ký 2.</a:t>
                      </a:r>
                      <a:r>
                        <a:rPr lang="vi-VN" sz="2000" kern="1200" spc="-10">
                          <a:solidFill>
                            <a:schemeClr val="dk1"/>
                          </a:solidFill>
                          <a:effectLst/>
                          <a:latin typeface="Times New Roman" panose="02020603050405020304" pitchFamily="18" charset="0"/>
                          <a:ea typeface="+mn-ea"/>
                          <a:cs typeface="+mn-cs"/>
                        </a:rPr>
                        <a:t>208</a:t>
                      </a:r>
                      <a:r>
                        <a:rPr lang="nl-NL" sz="2000" kern="1200" spc="-10">
                          <a:solidFill>
                            <a:schemeClr val="dk1"/>
                          </a:solidFill>
                          <a:effectLst/>
                          <a:latin typeface="Times New Roman" panose="02020603050405020304" pitchFamily="18" charset="0"/>
                          <a:ea typeface="+mn-ea"/>
                          <a:cs typeface="+mn-cs"/>
                        </a:rPr>
                        <a:t> tỷ đồng. So với cùng kỳ năm trước giảm </a:t>
                      </a:r>
                      <a:r>
                        <a:rPr lang="vi-VN" sz="2000" kern="1200" spc="-10">
                          <a:solidFill>
                            <a:schemeClr val="dk1"/>
                          </a:solidFill>
                          <a:effectLst/>
                          <a:latin typeface="Times New Roman" panose="02020603050405020304" pitchFamily="18" charset="0"/>
                          <a:ea typeface="+mn-ea"/>
                          <a:cs typeface="+mn-cs"/>
                        </a:rPr>
                        <a:t>21,5</a:t>
                      </a:r>
                      <a:r>
                        <a:rPr lang="nl-NL" sz="2000" kern="1200" spc="-10">
                          <a:solidFill>
                            <a:schemeClr val="dk1"/>
                          </a:solidFill>
                          <a:effectLst/>
                          <a:latin typeface="Times New Roman" panose="02020603050405020304" pitchFamily="18" charset="0"/>
                          <a:ea typeface="+mn-ea"/>
                          <a:cs typeface="+mn-cs"/>
                        </a:rPr>
                        <a:t>% về số doanh nghiệp và tăng </a:t>
                      </a:r>
                      <a:r>
                        <a:rPr lang="vi-VN" sz="2000" kern="1200" spc="-10">
                          <a:solidFill>
                            <a:schemeClr val="dk1"/>
                          </a:solidFill>
                          <a:effectLst/>
                          <a:latin typeface="Times New Roman" panose="02020603050405020304" pitchFamily="18" charset="0"/>
                          <a:ea typeface="+mn-ea"/>
                          <a:cs typeface="+mn-cs"/>
                        </a:rPr>
                        <a:t>27,9</a:t>
                      </a:r>
                      <a:r>
                        <a:rPr lang="nl-NL" sz="2000" kern="1200" spc="-10">
                          <a:solidFill>
                            <a:schemeClr val="dk1"/>
                          </a:solidFill>
                          <a:effectLst/>
                          <a:latin typeface="Times New Roman" panose="02020603050405020304" pitchFamily="18" charset="0"/>
                          <a:ea typeface="+mn-ea"/>
                          <a:cs typeface="+mn-cs"/>
                        </a:rPr>
                        <a:t>% về vốn đăng ký</a:t>
                      </a:r>
                      <a:endParaRPr lang="vi-VN" sz="2000" kern="1200" spc="-10">
                        <a:solidFill>
                          <a:schemeClr val="dk1"/>
                        </a:solidFill>
                        <a:effectLst/>
                        <a:latin typeface="Times New Roman" panose="02020603050405020304" pitchFamily="18" charset="0"/>
                        <a:ea typeface="+mn-ea"/>
                        <a:cs typeface="+mn-cs"/>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q"/>
                        <a:tabLst/>
                        <a:defRPr/>
                      </a:pPr>
                      <a:r>
                        <a:rPr lang="vi-VN" sz="2000" kern="1200" spc="-10">
                          <a:solidFill>
                            <a:schemeClr val="dk1"/>
                          </a:solidFill>
                          <a:effectLst/>
                          <a:latin typeface="Times New Roman" panose="02020603050405020304" pitchFamily="18" charset="0"/>
                          <a:ea typeface="+mn-ea"/>
                          <a:cs typeface="+mn-cs"/>
                        </a:rPr>
                        <a:t>Một số doanh nghiệp có quy mô lớn thời gian qua: </a:t>
                      </a:r>
                    </a:p>
                    <a:p>
                      <a:pPr marL="0" marR="0" lvl="0" indent="0" algn="just" defTabSz="1219170" rtl="0" eaLnBrk="1" fontAlgn="auto" latinLnBrk="0" hangingPunct="1">
                        <a:lnSpc>
                          <a:spcPct val="100000"/>
                        </a:lnSpc>
                        <a:spcBef>
                          <a:spcPts val="0"/>
                        </a:spcBef>
                        <a:spcAft>
                          <a:spcPts val="1200"/>
                        </a:spcAft>
                        <a:buClrTx/>
                        <a:buSzTx/>
                        <a:buFontTx/>
                        <a:buNone/>
                        <a:tabLst/>
                        <a:defRPr/>
                      </a:pPr>
                      <a:r>
                        <a:rPr lang="en-US" sz="2000" kern="1200" cap="none" spc="-10">
                          <a:solidFill>
                            <a:schemeClr val="dk1"/>
                          </a:solidFill>
                          <a:effectLst/>
                          <a:latin typeface="Times New Roman" panose="02020603050405020304" pitchFamily="18" charset="0"/>
                          <a:ea typeface="+mn-ea"/>
                          <a:cs typeface="+mn-cs"/>
                        </a:rPr>
                        <a:t>       </a:t>
                      </a:r>
                      <a:r>
                        <a:rPr lang="vi-VN" sz="2000" kern="1200" cap="none" spc="-10" baseline="0">
                          <a:solidFill>
                            <a:schemeClr val="dk1"/>
                          </a:solidFill>
                          <a:effectLst/>
                          <a:latin typeface="Times New Roman" panose="02020603050405020304" pitchFamily="18" charset="0"/>
                          <a:ea typeface="+mn-ea"/>
                          <a:cs typeface="+mn-cs"/>
                        </a:rPr>
                        <a:t>+ Công ty Cổ phần TAKAO Bình Định: 168 tỷ đồng</a:t>
                      </a:r>
                      <a:endParaRPr lang="en-US" sz="2000" kern="1200" cap="none" spc="-10" baseline="0">
                        <a:solidFill>
                          <a:schemeClr val="dk1"/>
                        </a:solidFill>
                        <a:effectLst/>
                        <a:latin typeface="Times New Roman" panose="02020603050405020304" pitchFamily="18" charset="0"/>
                        <a:ea typeface="+mn-ea"/>
                        <a:cs typeface="+mn-cs"/>
                      </a:endParaRPr>
                    </a:p>
                    <a:p>
                      <a:pPr marL="0" marR="0" lvl="0" indent="0" algn="just" defTabSz="1219170" rtl="0" eaLnBrk="1" fontAlgn="auto" latinLnBrk="0" hangingPunct="1">
                        <a:lnSpc>
                          <a:spcPct val="100000"/>
                        </a:lnSpc>
                        <a:spcBef>
                          <a:spcPts val="0"/>
                        </a:spcBef>
                        <a:spcAft>
                          <a:spcPts val="1200"/>
                        </a:spcAft>
                        <a:buClrTx/>
                        <a:buSzTx/>
                        <a:buFontTx/>
                        <a:buNone/>
                        <a:tabLst/>
                        <a:defRPr/>
                      </a:pPr>
                      <a:r>
                        <a:rPr lang="en-US" sz="2000" kern="1200" cap="none" spc="-10" baseline="0">
                          <a:solidFill>
                            <a:schemeClr val="dk1"/>
                          </a:solidFill>
                          <a:effectLst/>
                          <a:latin typeface="Times New Roman" panose="02020603050405020304" pitchFamily="18" charset="0"/>
                          <a:ea typeface="+mn-ea"/>
                          <a:cs typeface="+mn-cs"/>
                        </a:rPr>
                        <a:t>       + </a:t>
                      </a:r>
                      <a:r>
                        <a:rPr lang="vi-VN" sz="2000" kern="1200" cap="none" spc="-10" baseline="0">
                          <a:solidFill>
                            <a:schemeClr val="dk1"/>
                          </a:solidFill>
                          <a:effectLst/>
                          <a:latin typeface="Times New Roman" panose="02020603050405020304" pitchFamily="18" charset="0"/>
                          <a:ea typeface="+mn-ea"/>
                          <a:cs typeface="+mn-cs"/>
                        </a:rPr>
                        <a:t>Công ty Cổ phần RICH LAND Quy Nhơn: 450 tỷ đồng</a:t>
                      </a:r>
                      <a:endParaRPr lang="en-US" sz="2000" kern="1200" cap="none" spc="-10" baseline="0">
                        <a:solidFill>
                          <a:schemeClr val="dk1"/>
                        </a:solidFill>
                        <a:effectLst/>
                        <a:latin typeface="Times New Roman" panose="02020603050405020304" pitchFamily="18" charset="0"/>
                        <a:ea typeface="+mn-ea"/>
                        <a:cs typeface="+mn-cs"/>
                      </a:endParaRPr>
                    </a:p>
                    <a:p>
                      <a:pPr marL="0" marR="0" lvl="0" indent="0" algn="just" defTabSz="1219170" rtl="0" eaLnBrk="1" fontAlgn="auto" latinLnBrk="0" hangingPunct="1">
                        <a:lnSpc>
                          <a:spcPct val="100000"/>
                        </a:lnSpc>
                        <a:spcBef>
                          <a:spcPts val="0"/>
                        </a:spcBef>
                        <a:spcAft>
                          <a:spcPts val="1200"/>
                        </a:spcAft>
                        <a:buClrTx/>
                        <a:buSzTx/>
                        <a:buFontTx/>
                        <a:buNone/>
                        <a:tabLst/>
                        <a:defRPr/>
                      </a:pPr>
                      <a:r>
                        <a:rPr lang="en-US" sz="2000" kern="1200" cap="none" spc="-10" baseline="0">
                          <a:solidFill>
                            <a:schemeClr val="dk1"/>
                          </a:solidFill>
                          <a:effectLst/>
                          <a:latin typeface="Times New Roman" panose="02020603050405020304" pitchFamily="18" charset="0"/>
                          <a:ea typeface="+mn-ea"/>
                          <a:cs typeface="+mn-cs"/>
                        </a:rPr>
                        <a:t>       + Công ty Cổ phần An Quang Holdings: 1.045 </a:t>
                      </a:r>
                      <a:r>
                        <a:rPr lang="vi-VN" sz="2000" kern="1200" cap="none" spc="-10" baseline="0">
                          <a:solidFill>
                            <a:schemeClr val="dk1"/>
                          </a:solidFill>
                          <a:effectLst/>
                          <a:latin typeface="Times New Roman" panose="02020603050405020304" pitchFamily="18" charset="0"/>
                          <a:ea typeface="+mn-ea"/>
                          <a:cs typeface="+mn-cs"/>
                        </a:rPr>
                        <a:t>tỷ đồng</a:t>
                      </a:r>
                      <a:endParaRPr lang="vi-VN" sz="2000" kern="1200" spc="-10">
                        <a:solidFill>
                          <a:schemeClr val="dk1"/>
                        </a:solidFill>
                        <a:effectLst/>
                        <a:latin typeface="Times New Roman" panose="02020603050405020304" pitchFamily="18" charset="0"/>
                        <a:ea typeface="+mn-ea"/>
                        <a:cs typeface="+mn-cs"/>
                      </a:endParaRPr>
                    </a:p>
                    <a:p>
                      <a:pPr marL="457200" marR="0" lvl="0" indent="-457200" algn="just" defTabSz="1219170" rtl="0" eaLnBrk="1" fontAlgn="auto" latinLnBrk="0" hangingPunct="1">
                        <a:lnSpc>
                          <a:spcPct val="100000"/>
                        </a:lnSpc>
                        <a:spcBef>
                          <a:spcPts val="0"/>
                        </a:spcBef>
                        <a:spcAft>
                          <a:spcPts val="1200"/>
                        </a:spcAft>
                        <a:buClrTx/>
                        <a:buSzTx/>
                        <a:buFont typeface="Wingdings" panose="05000000000000000000" pitchFamily="2" charset="2"/>
                        <a:buChar char="q"/>
                        <a:tabLst/>
                        <a:defRPr/>
                      </a:pPr>
                      <a:endParaRPr lang="vi-VN" sz="2800" kern="1200" spc="-10">
                        <a:solidFill>
                          <a:schemeClr val="dk1"/>
                        </a:solidFill>
                        <a:effectLst/>
                        <a:latin typeface="Times New Roman" panose="02020603050405020304" pitchFamily="18" charset="0"/>
                        <a:ea typeface="+mn-ea"/>
                        <a:cs typeface="+mn-cs"/>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2" name="Chart 1">
            <a:extLst>
              <a:ext uri="{FF2B5EF4-FFF2-40B4-BE49-F238E27FC236}">
                <a16:creationId xmlns:a16="http://schemas.microsoft.com/office/drawing/2014/main" id="{A08EB5F7-D899-7227-810E-9D2967DF9F96}"/>
              </a:ext>
            </a:extLst>
          </p:cNvPr>
          <p:cNvGraphicFramePr>
            <a:graphicFrameLocks/>
          </p:cNvGraphicFramePr>
          <p:nvPr>
            <p:extLst>
              <p:ext uri="{D42A27DB-BD31-4B8C-83A1-F6EECF244321}">
                <p14:modId xmlns:p14="http://schemas.microsoft.com/office/powerpoint/2010/main" val="2902399052"/>
              </p:ext>
            </p:extLst>
          </p:nvPr>
        </p:nvGraphicFramePr>
        <p:xfrm>
          <a:off x="6988028" y="1679981"/>
          <a:ext cx="5066951" cy="465378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99568227"/>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176064" y="196746"/>
            <a:ext cx="11681460"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rPr>
              <a:t>VỀ GIAO CH</a:t>
            </a:r>
            <a:r>
              <a:rPr lang="en-US" sz="2600" b="1">
                <a:solidFill>
                  <a:srgbClr val="040206"/>
                </a:solidFill>
                <a:latin typeface="Times New Roman" panose="02020603050405020304" pitchFamily="18" charset="0"/>
                <a:cs typeface="Times New Roman" panose="02020603050405020304" pitchFamily="18" charset="0"/>
              </a:rPr>
              <a:t>Ỉ TIÊU KẾ HOẠCH NĂM 2023</a:t>
            </a:r>
            <a:endPar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2" name="Table 1">
            <a:extLst>
              <a:ext uri="{FF2B5EF4-FFF2-40B4-BE49-F238E27FC236}">
                <a16:creationId xmlns:a16="http://schemas.microsoft.com/office/drawing/2014/main" id="{FBFFDBCD-49A2-B604-F9E9-B81E95DF4EB5}"/>
              </a:ext>
            </a:extLst>
          </p:cNvPr>
          <p:cNvGraphicFramePr>
            <a:graphicFrameLocks noGrp="1"/>
          </p:cNvGraphicFramePr>
          <p:nvPr>
            <p:extLst>
              <p:ext uri="{D42A27DB-BD31-4B8C-83A1-F6EECF244321}">
                <p14:modId xmlns:p14="http://schemas.microsoft.com/office/powerpoint/2010/main" val="918490388"/>
              </p:ext>
            </p:extLst>
          </p:nvPr>
        </p:nvGraphicFramePr>
        <p:xfrm>
          <a:off x="7394581" y="940014"/>
          <a:ext cx="4546833" cy="4977971"/>
        </p:xfrm>
        <a:graphic>
          <a:graphicData uri="http://schemas.openxmlformats.org/drawingml/2006/table">
            <a:tbl>
              <a:tblPr firstRow="1" bandRow="1"/>
              <a:tblGrid>
                <a:gridCol w="4546833">
                  <a:extLst>
                    <a:ext uri="{9D8B030D-6E8A-4147-A177-3AD203B41FA5}">
                      <a16:colId xmlns:a16="http://schemas.microsoft.com/office/drawing/2014/main" val="3655493598"/>
                    </a:ext>
                  </a:extLst>
                </a:gridCol>
              </a:tblGrid>
              <a:tr h="4977971">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1" kern="1200">
                          <a:solidFill>
                            <a:schemeClr val="dk1"/>
                          </a:solidFill>
                          <a:effectLst/>
                          <a:latin typeface="Times New Roman" panose="02020603050405020304" pitchFamily="18" charset="0"/>
                          <a:ea typeface="+mn-ea"/>
                          <a:cs typeface="Times New Roman" panose="02020603050405020304" pitchFamily="18" charset="0"/>
                        </a:rPr>
                        <a:t>Quy Nhơn</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Giao 5/14 chỉ tiêu giao cao hơn UBND tỉnh thông báo (</a:t>
                      </a:r>
                      <a:r>
                        <a:rPr lang="vi-VN" sz="2000" b="0" i="1" kern="1200">
                          <a:solidFill>
                            <a:schemeClr val="dk1"/>
                          </a:solidFill>
                          <a:effectLst/>
                          <a:latin typeface="Times New Roman" panose="02020603050405020304" pitchFamily="18" charset="0"/>
                          <a:ea typeface="+mn-ea"/>
                          <a:cs typeface="Times New Roman" panose="02020603050405020304" pitchFamily="18" charset="0"/>
                        </a:rPr>
                        <a:t>Tổng giá trị sản phẩm, tốc độ tăng TGTSP, Kim ngạch XK; doanh thu bán lẻ hàng hóa và dịch vụ; tổng thu ngân sách</a:t>
                      </a:r>
                      <a:r>
                        <a:rPr lang="vi-VN" sz="2000" b="0" kern="1200">
                          <a:solidFill>
                            <a:schemeClr val="dk1"/>
                          </a:solidFill>
                          <a:effectLst/>
                          <a:latin typeface="Times New Roman" panose="02020603050405020304" pitchFamily="18" charset="0"/>
                          <a:ea typeface="+mn-ea"/>
                          <a:cs typeface="Times New Roman" panose="02020603050405020304" pitchFamily="18" charset="0"/>
                        </a:rPr>
                        <a:t>), 9/14 chỉ tiêu còn lại giao bằng với UBND tỉnh thông báo.</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Thành phố giao tổng cộng 20 chỉ tiêu chủ yếu cho các phòng, ban, đơn vị thành phố. Đã giao chi tiết 11 chỉ tiêu đến từng địa phương, trong đó có các chỉ tiêu kinh tế đã giao theo quý, năm cho các địa phương. Các chỉ tiêu xã hội theo năm cho từng địa phương.</a:t>
                      </a:r>
                      <a:endParaRPr lang="en-US" sz="20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3" name="Table 2">
            <a:extLst>
              <a:ext uri="{FF2B5EF4-FFF2-40B4-BE49-F238E27FC236}">
                <a16:creationId xmlns:a16="http://schemas.microsoft.com/office/drawing/2014/main" id="{2E3E3DAE-54B2-6742-190A-ED1AAD7C7C60}"/>
              </a:ext>
            </a:extLst>
          </p:cNvPr>
          <p:cNvGraphicFramePr>
            <a:graphicFrameLocks noGrp="1"/>
          </p:cNvGraphicFramePr>
          <p:nvPr>
            <p:extLst>
              <p:ext uri="{D42A27DB-BD31-4B8C-83A1-F6EECF244321}">
                <p14:modId xmlns:p14="http://schemas.microsoft.com/office/powerpoint/2010/main" val="2589046588"/>
              </p:ext>
            </p:extLst>
          </p:nvPr>
        </p:nvGraphicFramePr>
        <p:xfrm>
          <a:off x="480971" y="885934"/>
          <a:ext cx="6683226" cy="5565197"/>
        </p:xfrm>
        <a:graphic>
          <a:graphicData uri="http://schemas.openxmlformats.org/drawingml/2006/table">
            <a:tbl>
              <a:tblPr>
                <a:tableStyleId>{5C22544A-7EE6-4342-B048-85BDC9FD1C3A}</a:tableStyleId>
              </a:tblPr>
              <a:tblGrid>
                <a:gridCol w="389506">
                  <a:extLst>
                    <a:ext uri="{9D8B030D-6E8A-4147-A177-3AD203B41FA5}">
                      <a16:colId xmlns:a16="http://schemas.microsoft.com/office/drawing/2014/main" val="1431909680"/>
                    </a:ext>
                  </a:extLst>
                </a:gridCol>
                <a:gridCol w="3292100">
                  <a:extLst>
                    <a:ext uri="{9D8B030D-6E8A-4147-A177-3AD203B41FA5}">
                      <a16:colId xmlns:a16="http://schemas.microsoft.com/office/drawing/2014/main" val="3718467917"/>
                    </a:ext>
                  </a:extLst>
                </a:gridCol>
                <a:gridCol w="783414">
                  <a:extLst>
                    <a:ext uri="{9D8B030D-6E8A-4147-A177-3AD203B41FA5}">
                      <a16:colId xmlns:a16="http://schemas.microsoft.com/office/drawing/2014/main" val="2924098097"/>
                    </a:ext>
                  </a:extLst>
                </a:gridCol>
                <a:gridCol w="695390">
                  <a:extLst>
                    <a:ext uri="{9D8B030D-6E8A-4147-A177-3AD203B41FA5}">
                      <a16:colId xmlns:a16="http://schemas.microsoft.com/office/drawing/2014/main" val="459000307"/>
                    </a:ext>
                  </a:extLst>
                </a:gridCol>
                <a:gridCol w="123234">
                  <a:extLst>
                    <a:ext uri="{9D8B030D-6E8A-4147-A177-3AD203B41FA5}">
                      <a16:colId xmlns:a16="http://schemas.microsoft.com/office/drawing/2014/main" val="3447550444"/>
                    </a:ext>
                  </a:extLst>
                </a:gridCol>
                <a:gridCol w="695390">
                  <a:extLst>
                    <a:ext uri="{9D8B030D-6E8A-4147-A177-3AD203B41FA5}">
                      <a16:colId xmlns:a16="http://schemas.microsoft.com/office/drawing/2014/main" val="4010830776"/>
                    </a:ext>
                  </a:extLst>
                </a:gridCol>
                <a:gridCol w="704192">
                  <a:extLst>
                    <a:ext uri="{9D8B030D-6E8A-4147-A177-3AD203B41FA5}">
                      <a16:colId xmlns:a16="http://schemas.microsoft.com/office/drawing/2014/main" val="1287186959"/>
                    </a:ext>
                  </a:extLst>
                </a:gridCol>
              </a:tblGrid>
              <a:tr h="359510">
                <a:tc>
                  <a:txBody>
                    <a:bodyPr/>
                    <a:lstStyle/>
                    <a:p>
                      <a:pPr algn="ctr" fontAlgn="ctr"/>
                      <a:r>
                        <a:rPr lang="vi-VN" sz="1100" u="none" strike="noStrike">
                          <a:effectLst/>
                          <a:latin typeface="+mj-lt"/>
                        </a:rPr>
                        <a:t>ST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Chỉ tiêu</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Đơn vị tính</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vi-VN" sz="1100" u="none" strike="noStrike">
                          <a:effectLst/>
                          <a:latin typeface="+mj-lt"/>
                        </a:rPr>
                        <a:t>Kế hoạch 2023 tỉnh giao</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a:txBody>
                    <a:bodyPr/>
                    <a:lstStyle/>
                    <a:p>
                      <a:pPr algn="ctr" fontAlgn="ctr"/>
                      <a:r>
                        <a:rPr lang="vi-VN" sz="1100" u="none" strike="noStrike">
                          <a:effectLst/>
                          <a:latin typeface="+mj-lt"/>
                        </a:rPr>
                        <a:t>Địa phương giao</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35091642"/>
                  </a:ext>
                </a:extLst>
              </a:tr>
              <a:tr h="200618">
                <a:tc>
                  <a:txBody>
                    <a:bodyPr/>
                    <a:lstStyle/>
                    <a:p>
                      <a:pPr algn="ctr" fontAlgn="ctr"/>
                      <a:r>
                        <a:rPr lang="vi-VN" sz="1100" u="none" strike="noStrike">
                          <a:solidFill>
                            <a:srgbClr val="FF0000"/>
                          </a:solidFill>
                          <a:effectLst/>
                          <a:latin typeface="+mj-lt"/>
                        </a:rPr>
                        <a:t>1</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rgbClr val="FF0000"/>
                          </a:solidFill>
                          <a:effectLst/>
                          <a:latin typeface="+mj-lt"/>
                        </a:rPr>
                        <a:t>Tổng giá trị sản phẩm (giá so sánh)</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Triệu đồng</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rgbClr val="FF0000"/>
                          </a:solidFill>
                          <a:effectLst/>
                          <a:latin typeface="+mj-lt"/>
                        </a:rPr>
                        <a:t>60.032.876</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rgbClr val="FF0000"/>
                          </a:solidFill>
                          <a:effectLst/>
                          <a:latin typeface="+mj-lt"/>
                        </a:rPr>
                        <a:t>60.211.864</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rgbClr val="FF0000"/>
                          </a:solidFill>
                          <a:effectLst/>
                          <a:latin typeface="+mj-lt"/>
                        </a:rPr>
                        <a:t>61.897.315</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55470858"/>
                  </a:ext>
                </a:extLst>
              </a:tr>
              <a:tr h="200618">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Nông, lâm, thuỷ sản</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2.151.653</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2.151.653</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2.172.645</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89462954"/>
                  </a:ext>
                </a:extLst>
              </a:tr>
              <a:tr h="200618">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Công nghiệp và xây dự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36.792.117</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36.932.409</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37.571.435</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01644495"/>
                  </a:ext>
                </a:extLst>
              </a:tr>
              <a:tr h="200618">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 Công nghiệp</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26.380.172</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26.501.183</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26.581.049</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37462781"/>
                  </a:ext>
                </a:extLst>
              </a:tr>
              <a:tr h="200618">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 Xây dự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10.411.945</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10.431.226</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10.990.386</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24313692"/>
                  </a:ext>
                </a:extLst>
              </a:tr>
              <a:tr h="200618">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Dịch vụ</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21.089.106</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21.127.802</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22.153.235</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7339424"/>
                  </a:ext>
                </a:extLst>
              </a:tr>
              <a:tr h="224693">
                <a:tc>
                  <a:txBody>
                    <a:bodyPr/>
                    <a:lstStyle/>
                    <a:p>
                      <a:pPr algn="ctr" fontAlgn="ctr"/>
                      <a:r>
                        <a:rPr lang="vi-VN" sz="1100" u="none" strike="noStrike">
                          <a:solidFill>
                            <a:srgbClr val="FF0000"/>
                          </a:solidFill>
                          <a:effectLst/>
                          <a:latin typeface="+mj-lt"/>
                        </a:rPr>
                        <a:t>2</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rgbClr val="FF0000"/>
                          </a:solidFill>
                          <a:effectLst/>
                          <a:latin typeface="+mj-lt"/>
                        </a:rPr>
                        <a:t>Tốc độ tăng giá trị sản phẩm</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8,58</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8,90 </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12,00 </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4581713"/>
                  </a:ext>
                </a:extLst>
              </a:tr>
              <a:tr h="200618">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Nông, lâm, thuỷ sản</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2,5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2,5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3,5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54586814"/>
                  </a:ext>
                </a:extLst>
              </a:tr>
              <a:tr h="200618">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Công nghiệp và xây dự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8,72</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9,13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11,0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67496186"/>
                  </a:ext>
                </a:extLst>
              </a:tr>
              <a:tr h="208645">
                <a:tc>
                  <a:txBody>
                    <a:bodyPr/>
                    <a:lstStyle/>
                    <a:p>
                      <a:pPr algn="ctr" fontAlgn="ctr"/>
                      <a:r>
                        <a:rPr lang="vi-VN" sz="1100" u="none" strike="noStrike">
                          <a:effectLst/>
                          <a:latin typeface="+mj-lt"/>
                        </a:rPr>
                        <a:t>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 Công nghiệp</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9,00</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9,50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9,80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70349330"/>
                  </a:ext>
                </a:extLst>
              </a:tr>
              <a:tr h="208645">
                <a:tc>
                  <a:txBody>
                    <a:bodyPr/>
                    <a:lstStyle/>
                    <a:p>
                      <a:pPr algn="ctr" fontAlgn="ctr"/>
                      <a:r>
                        <a:rPr lang="vi-VN" sz="1100" u="none" strike="noStrike">
                          <a:effectLst/>
                          <a:latin typeface="+mj-lt"/>
                        </a:rPr>
                        <a:t>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 Xây dự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8,00</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8,20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14,00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3069835"/>
                  </a:ext>
                </a:extLst>
              </a:tr>
              <a:tr h="200618">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Dịch vụ</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9,0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9,2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14,5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4610105"/>
                  </a:ext>
                </a:extLst>
              </a:tr>
              <a:tr h="200618">
                <a:tc>
                  <a:txBody>
                    <a:bodyPr/>
                    <a:lstStyle/>
                    <a:p>
                      <a:pPr algn="ctr" fontAlgn="ctr"/>
                      <a:r>
                        <a:rPr lang="vi-VN" sz="1100" u="none" strike="noStrike">
                          <a:solidFill>
                            <a:srgbClr val="FF0000"/>
                          </a:solidFill>
                          <a:effectLst/>
                          <a:latin typeface="+mj-lt"/>
                        </a:rPr>
                        <a:t>3</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rgbClr val="FF0000"/>
                          </a:solidFill>
                          <a:effectLst/>
                          <a:latin typeface="+mj-lt"/>
                        </a:rPr>
                        <a:t>Kim ngạch xuất khẩu </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Triệu USD</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1.030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1.050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99870166"/>
                  </a:ext>
                </a:extLst>
              </a:tr>
              <a:tr h="350726">
                <a:tc>
                  <a:txBody>
                    <a:bodyPr/>
                    <a:lstStyle/>
                    <a:p>
                      <a:pPr algn="ctr" fontAlgn="ctr"/>
                      <a:r>
                        <a:rPr lang="vi-VN" sz="1100" u="none" strike="noStrike">
                          <a:solidFill>
                            <a:srgbClr val="FF0000"/>
                          </a:solidFill>
                          <a:effectLst/>
                          <a:latin typeface="+mj-lt"/>
                        </a:rPr>
                        <a:t>4</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rgbClr val="FF0000"/>
                          </a:solidFill>
                          <a:effectLst/>
                          <a:latin typeface="+mj-lt"/>
                        </a:rPr>
                        <a:t>Tổng thu ngân sách trên địa bàn</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Triệu đồng</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3.220.915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3.382.190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39291250"/>
                  </a:ext>
                </a:extLst>
              </a:tr>
              <a:tr h="200618">
                <a:tc>
                  <a:txBody>
                    <a:bodyPr/>
                    <a:lstStyle/>
                    <a:p>
                      <a:pPr algn="ctr" fontAlgn="ctr"/>
                      <a:r>
                        <a:rPr lang="vi-VN" sz="1100" u="none" strike="noStrike">
                          <a:effectLst/>
                          <a:latin typeface="+mj-lt"/>
                        </a:rPr>
                        <a:t>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Thu tiền sử dụng đấ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500.000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525.000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18218340"/>
                  </a:ext>
                </a:extLst>
              </a:tr>
              <a:tr h="200618">
                <a:tc>
                  <a:txBody>
                    <a:bodyPr/>
                    <a:lstStyle/>
                    <a:p>
                      <a:pPr algn="ctr" fontAlgn="ctr"/>
                      <a:r>
                        <a:rPr lang="vi-VN" sz="1100" u="none" strike="noStrike">
                          <a:solidFill>
                            <a:srgbClr val="FF0000"/>
                          </a:solidFill>
                          <a:effectLst/>
                          <a:latin typeface="+mj-lt"/>
                        </a:rPr>
                        <a:t>5</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rgbClr val="FF0000"/>
                          </a:solidFill>
                          <a:effectLst/>
                          <a:latin typeface="+mj-lt"/>
                        </a:rPr>
                        <a:t>Doanh thu bán lẻ hàng hóa và dịch vụ</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Tỷ đồng</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51.854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53.990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12990109"/>
                  </a:ext>
                </a:extLst>
              </a:tr>
              <a:tr h="200618">
                <a:tc>
                  <a:txBody>
                    <a:bodyPr/>
                    <a:lstStyle/>
                    <a:p>
                      <a:pPr algn="ctr" fontAlgn="ctr"/>
                      <a:r>
                        <a:rPr lang="vi-VN" sz="1100" u="none" strike="noStrike">
                          <a:effectLst/>
                          <a:latin typeface="+mj-lt"/>
                        </a:rPr>
                        <a:t>6</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Tỷ lệ dân số tham gia bảo hiểm y tế</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10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10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2096953"/>
                  </a:ext>
                </a:extLst>
              </a:tr>
              <a:tr h="200618">
                <a:tc>
                  <a:txBody>
                    <a:bodyPr/>
                    <a:lstStyle/>
                    <a:p>
                      <a:pPr algn="ctr" fontAlgn="ctr"/>
                      <a:r>
                        <a:rPr lang="vi-VN" sz="1100" u="none" strike="noStrike">
                          <a:effectLst/>
                          <a:latin typeface="+mj-lt"/>
                        </a:rPr>
                        <a:t>7</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Tỷ lệ trẻ em dưới 5 tuổi suy dinh dưỡng thể nhẹ cân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4,91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4,91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06621444"/>
                  </a:ext>
                </a:extLst>
              </a:tr>
              <a:tr h="200618">
                <a:tc>
                  <a:txBody>
                    <a:bodyPr/>
                    <a:lstStyle/>
                    <a:p>
                      <a:pPr algn="ctr" fontAlgn="ctr"/>
                      <a:r>
                        <a:rPr lang="vi-VN" sz="1100" u="none" strike="noStrike">
                          <a:effectLst/>
                          <a:latin typeface="+mj-lt"/>
                        </a:rPr>
                        <a:t>8</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Giảm tỷ lệ nghèo đa chiều</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0,04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0,11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43594074"/>
                  </a:ext>
                </a:extLst>
              </a:tr>
              <a:tr h="200618">
                <a:tc>
                  <a:txBody>
                    <a:bodyPr/>
                    <a:lstStyle/>
                    <a:p>
                      <a:pPr algn="ctr" fontAlgn="ctr"/>
                      <a:r>
                        <a:rPr lang="vi-VN" sz="1100" u="none" strike="noStrike">
                          <a:effectLst/>
                          <a:latin typeface="+mj-lt"/>
                        </a:rPr>
                        <a:t>9</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Bảo hiểm xã hội tự nguyện</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Người</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2.157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2.157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247938"/>
                  </a:ext>
                </a:extLst>
              </a:tr>
              <a:tr h="200618">
                <a:tc>
                  <a:txBody>
                    <a:bodyPr/>
                    <a:lstStyle/>
                    <a:p>
                      <a:pPr algn="ctr" fontAlgn="ctr"/>
                      <a:r>
                        <a:rPr lang="vi-VN" sz="1100" u="none" strike="noStrike">
                          <a:effectLst/>
                          <a:latin typeface="+mj-lt"/>
                        </a:rPr>
                        <a:t>10</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Tạo việc làm mới</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Người</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6.50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6.50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897559"/>
                  </a:ext>
                </a:extLst>
              </a:tr>
              <a:tr h="200618">
                <a:tc>
                  <a:txBody>
                    <a:bodyPr/>
                    <a:lstStyle/>
                    <a:p>
                      <a:pPr algn="ctr" fontAlgn="ctr"/>
                      <a:r>
                        <a:rPr lang="vi-VN" sz="1100" u="none" strike="noStrike">
                          <a:effectLst/>
                          <a:latin typeface="+mj-lt"/>
                        </a:rPr>
                        <a:t>11</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Đào tạo nghề lao động nông thôn</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Người</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15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15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35977026"/>
                  </a:ext>
                </a:extLst>
              </a:tr>
              <a:tr h="200618">
                <a:tc>
                  <a:txBody>
                    <a:bodyPr/>
                    <a:lstStyle/>
                    <a:p>
                      <a:pPr algn="ctr" fontAlgn="ctr"/>
                      <a:r>
                        <a:rPr lang="vi-VN" sz="1100" u="none" strike="noStrike">
                          <a:effectLst/>
                          <a:latin typeface="+mj-lt"/>
                        </a:rPr>
                        <a:t>12</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Tỷ lệ che phủ rừng</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32,4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32,4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8920663"/>
                  </a:ext>
                </a:extLst>
              </a:tr>
              <a:tr h="200618">
                <a:tc>
                  <a:txBody>
                    <a:bodyPr/>
                    <a:lstStyle/>
                    <a:p>
                      <a:pPr algn="ctr" fontAlgn="ctr"/>
                      <a:r>
                        <a:rPr lang="vi-VN" sz="1100" u="none" strike="noStrike">
                          <a:effectLst/>
                          <a:latin typeface="+mj-lt"/>
                        </a:rPr>
                        <a:t>13</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Tỷ lệ dân cư đô thị sử dụng nước sạch</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99,86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99,86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8366578"/>
                  </a:ext>
                </a:extLst>
              </a:tr>
              <a:tr h="200618">
                <a:tc>
                  <a:txBody>
                    <a:bodyPr/>
                    <a:lstStyle/>
                    <a:p>
                      <a:pPr algn="ctr" fontAlgn="ctr"/>
                      <a:r>
                        <a:rPr lang="vi-VN" sz="1100" u="none" strike="noStrike">
                          <a:effectLst/>
                          <a:latin typeface="+mj-lt"/>
                        </a:rPr>
                        <a:t>14</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Tỷ lệ chất thải rắn ở đô thị được thu gom</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96,0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96,0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97759447"/>
                  </a:ext>
                </a:extLst>
              </a:tr>
            </a:tbl>
          </a:graphicData>
        </a:graphic>
      </p:graphicFrame>
    </p:spTree>
    <p:extLst>
      <p:ext uri="{BB962C8B-B14F-4D97-AF65-F5344CB8AC3E}">
        <p14:creationId xmlns:p14="http://schemas.microsoft.com/office/powerpoint/2010/main" val="103086605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02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FF705920-E1B4-B4D0-9EA4-A27AA5761577}"/>
              </a:ext>
            </a:extLst>
          </p:cNvPr>
          <p:cNvCxnSpPr>
            <a:cxnSpLocks/>
          </p:cNvCxnSpPr>
          <p:nvPr/>
        </p:nvCxnSpPr>
        <p:spPr>
          <a:xfrm>
            <a:off x="777362" y="524236"/>
            <a:ext cx="8408583"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1DC26C3-E6F4-C27A-8624-3A65D81B6008}"/>
              </a:ext>
            </a:extLst>
          </p:cNvPr>
          <p:cNvSpPr/>
          <p:nvPr/>
        </p:nvSpPr>
        <p:spPr>
          <a:xfrm>
            <a:off x="1119325" y="640147"/>
            <a:ext cx="7232044"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phát triển doanh nghiệp</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5" name="Chart 4">
            <a:extLst>
              <a:ext uri="{FF2B5EF4-FFF2-40B4-BE49-F238E27FC236}">
                <a16:creationId xmlns:a16="http://schemas.microsoft.com/office/drawing/2014/main" id="{6FEF8E8F-912E-AFD3-F733-73DBAFEA3824}"/>
              </a:ext>
            </a:extLst>
          </p:cNvPr>
          <p:cNvGraphicFramePr>
            <a:graphicFrameLocks/>
          </p:cNvGraphicFramePr>
          <p:nvPr>
            <p:extLst>
              <p:ext uri="{D42A27DB-BD31-4B8C-83A1-F6EECF244321}">
                <p14:modId xmlns:p14="http://schemas.microsoft.com/office/powerpoint/2010/main" val="424346972"/>
              </p:ext>
            </p:extLst>
          </p:nvPr>
        </p:nvGraphicFramePr>
        <p:xfrm>
          <a:off x="777362" y="1467896"/>
          <a:ext cx="5658676" cy="51071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Table 6">
            <a:extLst>
              <a:ext uri="{FF2B5EF4-FFF2-40B4-BE49-F238E27FC236}">
                <a16:creationId xmlns:a16="http://schemas.microsoft.com/office/drawing/2014/main" id="{DE684BB8-737C-326F-CC34-B8AF674B74F8}"/>
              </a:ext>
            </a:extLst>
          </p:cNvPr>
          <p:cNvGraphicFramePr>
            <a:graphicFrameLocks noGrp="1"/>
          </p:cNvGraphicFramePr>
          <p:nvPr>
            <p:extLst>
              <p:ext uri="{D42A27DB-BD31-4B8C-83A1-F6EECF244321}">
                <p14:modId xmlns:p14="http://schemas.microsoft.com/office/powerpoint/2010/main" val="3575031512"/>
              </p:ext>
            </p:extLst>
          </p:nvPr>
        </p:nvGraphicFramePr>
        <p:xfrm>
          <a:off x="7059452" y="1638227"/>
          <a:ext cx="4777413" cy="3328056"/>
        </p:xfrm>
        <a:graphic>
          <a:graphicData uri="http://schemas.openxmlformats.org/drawingml/2006/table">
            <a:tbl>
              <a:tblPr>
                <a:tableStyleId>{5C22544A-7EE6-4342-B048-85BDC9FD1C3A}</a:tableStyleId>
              </a:tblPr>
              <a:tblGrid>
                <a:gridCol w="2090432">
                  <a:extLst>
                    <a:ext uri="{9D8B030D-6E8A-4147-A177-3AD203B41FA5}">
                      <a16:colId xmlns:a16="http://schemas.microsoft.com/office/drawing/2014/main" val="2872612088"/>
                    </a:ext>
                  </a:extLst>
                </a:gridCol>
                <a:gridCol w="1163022">
                  <a:extLst>
                    <a:ext uri="{9D8B030D-6E8A-4147-A177-3AD203B41FA5}">
                      <a16:colId xmlns:a16="http://schemas.microsoft.com/office/drawing/2014/main" val="2916476069"/>
                    </a:ext>
                  </a:extLst>
                </a:gridCol>
                <a:gridCol w="1523959">
                  <a:extLst>
                    <a:ext uri="{9D8B030D-6E8A-4147-A177-3AD203B41FA5}">
                      <a16:colId xmlns:a16="http://schemas.microsoft.com/office/drawing/2014/main" val="4270509801"/>
                    </a:ext>
                  </a:extLst>
                </a:gridCol>
              </a:tblGrid>
              <a:tr h="369784">
                <a:tc>
                  <a:txBody>
                    <a:bodyPr/>
                    <a:lstStyle/>
                    <a:p>
                      <a:pPr algn="ctr" fontAlgn="b"/>
                      <a:r>
                        <a:rPr lang="vi-VN" sz="2000" b="1" u="none" strike="noStrike">
                          <a:effectLst/>
                          <a:latin typeface="+mj-lt"/>
                        </a:rPr>
                        <a:t>Lĩnh vực</a:t>
                      </a:r>
                      <a:endParaRPr lang="vi-VN" sz="2000" b="1"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2000" b="1" u="none" strike="noStrike">
                          <a:effectLst/>
                          <a:latin typeface="+mj-lt"/>
                        </a:rPr>
                        <a:t>Số lượng</a:t>
                      </a:r>
                      <a:endParaRPr lang="vi-VN" sz="2000" b="1"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2000" b="1" u="none" strike="noStrike">
                          <a:effectLst/>
                          <a:latin typeface="+mj-lt"/>
                        </a:rPr>
                        <a:t>Tỷ trọng (%)</a:t>
                      </a:r>
                      <a:endParaRPr lang="vi-VN" sz="2000" b="1"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26100574"/>
                  </a:ext>
                </a:extLst>
              </a:tr>
              <a:tr h="369784">
                <a:tc>
                  <a:txBody>
                    <a:bodyPr/>
                    <a:lstStyle/>
                    <a:p>
                      <a:pPr algn="l" fontAlgn="b"/>
                      <a:r>
                        <a:rPr lang="vi-VN" sz="2000" u="none" strike="noStrike">
                          <a:effectLst/>
                          <a:latin typeface="+mj-lt"/>
                        </a:rPr>
                        <a:t>Công nghiệp</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2000" u="none" strike="noStrike">
                          <a:effectLst/>
                          <a:latin typeface="+mj-lt"/>
                        </a:rPr>
                        <a:t>22</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vi-VN" sz="2000" u="none" strike="noStrike">
                          <a:effectLst/>
                          <a:latin typeface="+mj-lt"/>
                        </a:rPr>
                        <a:t>13,10%</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33411628"/>
                  </a:ext>
                </a:extLst>
              </a:tr>
              <a:tr h="369784">
                <a:tc>
                  <a:txBody>
                    <a:bodyPr/>
                    <a:lstStyle/>
                    <a:p>
                      <a:pPr algn="l" fontAlgn="b"/>
                      <a:r>
                        <a:rPr lang="vi-VN" sz="2000" u="none" strike="noStrike">
                          <a:effectLst/>
                          <a:latin typeface="+mj-lt"/>
                        </a:rPr>
                        <a:t>Nông nghiệp</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2000" u="none" strike="noStrike">
                          <a:effectLst/>
                          <a:latin typeface="+mj-lt"/>
                        </a:rPr>
                        <a:t>6</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vi-VN" sz="2000" u="none" strike="noStrike">
                          <a:effectLst/>
                          <a:latin typeface="+mj-lt"/>
                        </a:rPr>
                        <a:t>3,57%</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17353839"/>
                  </a:ext>
                </a:extLst>
              </a:tr>
              <a:tr h="369784">
                <a:tc>
                  <a:txBody>
                    <a:bodyPr/>
                    <a:lstStyle/>
                    <a:p>
                      <a:pPr algn="l" fontAlgn="b"/>
                      <a:r>
                        <a:rPr lang="vi-VN" sz="2000" u="none" strike="noStrike">
                          <a:effectLst/>
                          <a:latin typeface="+mj-lt"/>
                        </a:rPr>
                        <a:t>Xây dựng</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2000" u="none" strike="noStrike">
                          <a:effectLst/>
                          <a:latin typeface="+mj-lt"/>
                        </a:rPr>
                        <a:t>42</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vi-VN" sz="2000" u="none" strike="noStrike">
                          <a:effectLst/>
                          <a:latin typeface="+mj-lt"/>
                        </a:rPr>
                        <a:t>25,00%</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16823198"/>
                  </a:ext>
                </a:extLst>
              </a:tr>
              <a:tr h="369784">
                <a:tc>
                  <a:txBody>
                    <a:bodyPr/>
                    <a:lstStyle/>
                    <a:p>
                      <a:pPr algn="l" fontAlgn="b"/>
                      <a:r>
                        <a:rPr lang="vi-VN" sz="2000" u="none" strike="noStrike">
                          <a:effectLst/>
                          <a:latin typeface="+mj-lt"/>
                        </a:rPr>
                        <a:t>Vận tải</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2000" u="none" strike="noStrike">
                          <a:effectLst/>
                          <a:latin typeface="+mj-lt"/>
                        </a:rPr>
                        <a:t>8</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vi-VN" sz="2000" u="none" strike="noStrike">
                          <a:effectLst/>
                          <a:latin typeface="+mj-lt"/>
                        </a:rPr>
                        <a:t>4,76%</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68558068"/>
                  </a:ext>
                </a:extLst>
              </a:tr>
              <a:tr h="369784">
                <a:tc>
                  <a:txBody>
                    <a:bodyPr/>
                    <a:lstStyle/>
                    <a:p>
                      <a:pPr algn="l" fontAlgn="b"/>
                      <a:r>
                        <a:rPr lang="vi-VN" sz="2000" u="none" strike="noStrike">
                          <a:effectLst/>
                          <a:latin typeface="+mj-lt"/>
                        </a:rPr>
                        <a:t>Thương mại</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2000" u="none" strike="noStrike">
                          <a:effectLst/>
                          <a:latin typeface="+mj-lt"/>
                        </a:rPr>
                        <a:t>46</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vi-VN" sz="2000" u="none" strike="noStrike">
                          <a:effectLst/>
                          <a:latin typeface="+mj-lt"/>
                        </a:rPr>
                        <a:t>27,38%</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93074244"/>
                  </a:ext>
                </a:extLst>
              </a:tr>
              <a:tr h="369784">
                <a:tc>
                  <a:txBody>
                    <a:bodyPr/>
                    <a:lstStyle/>
                    <a:p>
                      <a:pPr algn="l" fontAlgn="b"/>
                      <a:r>
                        <a:rPr lang="vi-VN" sz="2000" u="none" strike="noStrike">
                          <a:effectLst/>
                          <a:latin typeface="+mj-lt"/>
                        </a:rPr>
                        <a:t>Dịch vụ</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2000" u="none" strike="noStrike">
                          <a:effectLst/>
                          <a:latin typeface="+mj-lt"/>
                        </a:rPr>
                        <a:t>38</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vi-VN" sz="2000" u="none" strike="noStrike">
                          <a:effectLst/>
                          <a:latin typeface="+mj-lt"/>
                        </a:rPr>
                        <a:t>22,62%</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20715477"/>
                  </a:ext>
                </a:extLst>
              </a:tr>
              <a:tr h="369784">
                <a:tc>
                  <a:txBody>
                    <a:bodyPr/>
                    <a:lstStyle/>
                    <a:p>
                      <a:pPr algn="l" fontAlgn="b"/>
                      <a:r>
                        <a:rPr lang="vi-VN" sz="2000" u="none" strike="noStrike">
                          <a:effectLst/>
                          <a:latin typeface="+mj-lt"/>
                        </a:rPr>
                        <a:t>Bất động sản</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2000" u="none" strike="noStrike">
                          <a:effectLst/>
                          <a:latin typeface="+mj-lt"/>
                        </a:rPr>
                        <a:t>6</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vi-VN" sz="2000" u="none" strike="noStrike">
                          <a:effectLst/>
                          <a:latin typeface="+mj-lt"/>
                        </a:rPr>
                        <a:t>3,57%</a:t>
                      </a:r>
                      <a:endParaRPr lang="vi-VN" sz="20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92438110"/>
                  </a:ext>
                </a:extLst>
              </a:tr>
              <a:tr h="369784">
                <a:tc>
                  <a:txBody>
                    <a:bodyPr/>
                    <a:lstStyle/>
                    <a:p>
                      <a:pPr algn="ctr" fontAlgn="b"/>
                      <a:r>
                        <a:rPr lang="vi-VN" sz="2000" b="1" u="none" strike="noStrike">
                          <a:effectLst/>
                          <a:latin typeface="+mj-lt"/>
                        </a:rPr>
                        <a:t>TỔNG</a:t>
                      </a:r>
                      <a:endParaRPr lang="vi-VN" sz="2000" b="1"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2000" b="1" u="none" strike="noStrike">
                          <a:effectLst/>
                          <a:latin typeface="+mj-lt"/>
                        </a:rPr>
                        <a:t>168</a:t>
                      </a:r>
                      <a:endParaRPr lang="vi-VN" sz="2000" b="1"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vi-VN" sz="2000" b="1" u="none" strike="noStrike">
                          <a:effectLst/>
                          <a:latin typeface="+mj-lt"/>
                        </a:rPr>
                        <a:t>100,00%</a:t>
                      </a:r>
                      <a:endParaRPr lang="vi-VN" sz="2000" b="1"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19662260"/>
                  </a:ext>
                </a:extLst>
              </a:tr>
            </a:tbl>
          </a:graphicData>
        </a:graphic>
      </p:graphicFrame>
    </p:spTree>
    <p:extLst>
      <p:ext uri="{BB962C8B-B14F-4D97-AF65-F5344CB8AC3E}">
        <p14:creationId xmlns:p14="http://schemas.microsoft.com/office/powerpoint/2010/main" val="4130804454"/>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02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FF705920-E1B4-B4D0-9EA4-A27AA5761577}"/>
              </a:ext>
            </a:extLst>
          </p:cNvPr>
          <p:cNvCxnSpPr>
            <a:cxnSpLocks/>
          </p:cNvCxnSpPr>
          <p:nvPr/>
        </p:nvCxnSpPr>
        <p:spPr>
          <a:xfrm>
            <a:off x="777362" y="524236"/>
            <a:ext cx="8408583"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1DC26C3-E6F4-C27A-8624-3A65D81B6008}"/>
              </a:ext>
            </a:extLst>
          </p:cNvPr>
          <p:cNvSpPr/>
          <p:nvPr/>
        </p:nvSpPr>
        <p:spPr>
          <a:xfrm>
            <a:off x="1119325" y="640147"/>
            <a:ext cx="7232044"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phát triển doanh nghiệp</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2" name="Chart 1">
            <a:extLst>
              <a:ext uri="{FF2B5EF4-FFF2-40B4-BE49-F238E27FC236}">
                <a16:creationId xmlns:a16="http://schemas.microsoft.com/office/drawing/2014/main" id="{44F4FA72-D1AA-8B5C-D4E7-8DDB88D8BEF9}"/>
              </a:ext>
            </a:extLst>
          </p:cNvPr>
          <p:cNvGraphicFramePr>
            <a:graphicFrameLocks/>
          </p:cNvGraphicFramePr>
          <p:nvPr>
            <p:extLst>
              <p:ext uri="{D42A27DB-BD31-4B8C-83A1-F6EECF244321}">
                <p14:modId xmlns:p14="http://schemas.microsoft.com/office/powerpoint/2010/main" val="3137704086"/>
              </p:ext>
            </p:extLst>
          </p:nvPr>
        </p:nvGraphicFramePr>
        <p:xfrm>
          <a:off x="918659" y="1189124"/>
          <a:ext cx="6176963" cy="493483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Table 2">
            <a:extLst>
              <a:ext uri="{FF2B5EF4-FFF2-40B4-BE49-F238E27FC236}">
                <a16:creationId xmlns:a16="http://schemas.microsoft.com/office/drawing/2014/main" id="{67E6D109-73B6-7059-3D35-0E818FF96EB8}"/>
              </a:ext>
            </a:extLst>
          </p:cNvPr>
          <p:cNvGraphicFramePr>
            <a:graphicFrameLocks noGrp="1"/>
          </p:cNvGraphicFramePr>
          <p:nvPr>
            <p:extLst>
              <p:ext uri="{D42A27DB-BD31-4B8C-83A1-F6EECF244321}">
                <p14:modId xmlns:p14="http://schemas.microsoft.com/office/powerpoint/2010/main" val="1390102784"/>
              </p:ext>
            </p:extLst>
          </p:nvPr>
        </p:nvGraphicFramePr>
        <p:xfrm>
          <a:off x="7717872" y="1535186"/>
          <a:ext cx="3808601" cy="4135768"/>
        </p:xfrm>
        <a:graphic>
          <a:graphicData uri="http://schemas.openxmlformats.org/drawingml/2006/table">
            <a:tbl>
              <a:tblPr>
                <a:tableStyleId>{5C22544A-7EE6-4342-B048-85BDC9FD1C3A}</a:tableStyleId>
              </a:tblPr>
              <a:tblGrid>
                <a:gridCol w="1527033">
                  <a:extLst>
                    <a:ext uri="{9D8B030D-6E8A-4147-A177-3AD203B41FA5}">
                      <a16:colId xmlns:a16="http://schemas.microsoft.com/office/drawing/2014/main" val="4141109234"/>
                    </a:ext>
                  </a:extLst>
                </a:gridCol>
                <a:gridCol w="2281568">
                  <a:extLst>
                    <a:ext uri="{9D8B030D-6E8A-4147-A177-3AD203B41FA5}">
                      <a16:colId xmlns:a16="http://schemas.microsoft.com/office/drawing/2014/main" val="1049992000"/>
                    </a:ext>
                  </a:extLst>
                </a:gridCol>
              </a:tblGrid>
              <a:tr h="318136">
                <a:tc>
                  <a:txBody>
                    <a:bodyPr/>
                    <a:lstStyle/>
                    <a:p>
                      <a:pPr algn="ctr" fontAlgn="b"/>
                      <a:r>
                        <a:rPr lang="vi-VN" sz="1600" b="1" u="none" strike="noStrike">
                          <a:effectLst/>
                          <a:latin typeface="+mj-lt"/>
                        </a:rPr>
                        <a:t>Địa phương</a:t>
                      </a:r>
                      <a:endParaRPr lang="vi-VN" sz="1600" b="1"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1600" b="1" u="none" strike="noStrike">
                          <a:effectLst/>
                          <a:latin typeface="+mj-lt"/>
                        </a:rPr>
                        <a:t>Số DN thành lập mới</a:t>
                      </a:r>
                      <a:endParaRPr lang="vi-VN" sz="1600" b="1"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88985583"/>
                  </a:ext>
                </a:extLst>
              </a:tr>
              <a:tr h="318136">
                <a:tc>
                  <a:txBody>
                    <a:bodyPr/>
                    <a:lstStyle/>
                    <a:p>
                      <a:pPr algn="ctr" fontAlgn="b"/>
                      <a:r>
                        <a:rPr lang="vi-VN" sz="1600" u="none" strike="noStrike">
                          <a:effectLst/>
                          <a:latin typeface="+mj-lt"/>
                        </a:rPr>
                        <a:t>Quy Nhơn</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1600" u="none" strike="noStrike">
                          <a:effectLst/>
                          <a:latin typeface="+mj-lt"/>
                        </a:rPr>
                        <a:t>108</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9493752"/>
                  </a:ext>
                </a:extLst>
              </a:tr>
              <a:tr h="318136">
                <a:tc>
                  <a:txBody>
                    <a:bodyPr/>
                    <a:lstStyle/>
                    <a:p>
                      <a:pPr algn="ctr" fontAlgn="b"/>
                      <a:r>
                        <a:rPr lang="vi-VN" sz="1600" u="none" strike="noStrike">
                          <a:effectLst/>
                          <a:latin typeface="+mj-lt"/>
                        </a:rPr>
                        <a:t>An Nhơn</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1600" u="none" strike="noStrike">
                          <a:effectLst/>
                          <a:latin typeface="+mj-lt"/>
                        </a:rPr>
                        <a:t>10</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61968796"/>
                  </a:ext>
                </a:extLst>
              </a:tr>
              <a:tr h="318136">
                <a:tc>
                  <a:txBody>
                    <a:bodyPr/>
                    <a:lstStyle/>
                    <a:p>
                      <a:pPr algn="ctr" fontAlgn="b"/>
                      <a:r>
                        <a:rPr lang="vi-VN" sz="1600" u="none" strike="noStrike">
                          <a:effectLst/>
                          <a:latin typeface="+mj-lt"/>
                        </a:rPr>
                        <a:t>Hoài Nhơn</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1600" u="none" strike="noStrike">
                          <a:effectLst/>
                          <a:latin typeface="+mj-lt"/>
                        </a:rPr>
                        <a:t>8</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49619520"/>
                  </a:ext>
                </a:extLst>
              </a:tr>
              <a:tr h="318136">
                <a:tc>
                  <a:txBody>
                    <a:bodyPr/>
                    <a:lstStyle/>
                    <a:p>
                      <a:pPr algn="ctr" fontAlgn="b"/>
                      <a:r>
                        <a:rPr lang="vi-VN" sz="1600" u="none" strike="noStrike">
                          <a:effectLst/>
                          <a:latin typeface="+mj-lt"/>
                        </a:rPr>
                        <a:t>Tuy Phước</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1600" u="none" strike="noStrike">
                          <a:effectLst/>
                          <a:latin typeface="+mj-lt"/>
                        </a:rPr>
                        <a:t>11</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37301624"/>
                  </a:ext>
                </a:extLst>
              </a:tr>
              <a:tr h="318136">
                <a:tc>
                  <a:txBody>
                    <a:bodyPr/>
                    <a:lstStyle/>
                    <a:p>
                      <a:pPr algn="ctr" fontAlgn="b"/>
                      <a:r>
                        <a:rPr lang="vi-VN" sz="1600" u="none" strike="noStrike">
                          <a:effectLst/>
                          <a:latin typeface="+mj-lt"/>
                        </a:rPr>
                        <a:t>Phú Cát</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1600" u="none" strike="noStrike">
                          <a:effectLst/>
                          <a:latin typeface="+mj-lt"/>
                        </a:rPr>
                        <a:t>8</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22430780"/>
                  </a:ext>
                </a:extLst>
              </a:tr>
              <a:tr h="318136">
                <a:tc>
                  <a:txBody>
                    <a:bodyPr/>
                    <a:lstStyle/>
                    <a:p>
                      <a:pPr algn="ctr" fontAlgn="b"/>
                      <a:r>
                        <a:rPr lang="vi-VN" sz="1600" u="none" strike="noStrike">
                          <a:effectLst/>
                          <a:latin typeface="+mj-lt"/>
                        </a:rPr>
                        <a:t>Phù Mỹ</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1600" u="none" strike="noStrike">
                          <a:effectLst/>
                          <a:latin typeface="+mj-lt"/>
                        </a:rPr>
                        <a:t>11</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32936692"/>
                  </a:ext>
                </a:extLst>
              </a:tr>
              <a:tr h="318136">
                <a:tc>
                  <a:txBody>
                    <a:bodyPr/>
                    <a:lstStyle/>
                    <a:p>
                      <a:pPr algn="ctr" fontAlgn="b"/>
                      <a:r>
                        <a:rPr lang="vi-VN" sz="1600" u="none" strike="noStrike">
                          <a:effectLst/>
                          <a:latin typeface="+mj-lt"/>
                        </a:rPr>
                        <a:t>Tây Sơn</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1600" u="none" strike="noStrike">
                          <a:effectLst/>
                          <a:latin typeface="+mj-lt"/>
                        </a:rPr>
                        <a:t>6</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67679560"/>
                  </a:ext>
                </a:extLst>
              </a:tr>
              <a:tr h="318136">
                <a:tc>
                  <a:txBody>
                    <a:bodyPr/>
                    <a:lstStyle/>
                    <a:p>
                      <a:pPr algn="ctr" fontAlgn="b"/>
                      <a:r>
                        <a:rPr lang="vi-VN" sz="1600" u="none" strike="noStrike">
                          <a:effectLst/>
                          <a:latin typeface="+mj-lt"/>
                        </a:rPr>
                        <a:t>Hoài Ân</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1600" u="none" strike="noStrike">
                          <a:effectLst/>
                          <a:latin typeface="+mj-lt"/>
                        </a:rPr>
                        <a:t>5</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01421406"/>
                  </a:ext>
                </a:extLst>
              </a:tr>
              <a:tr h="318136">
                <a:tc>
                  <a:txBody>
                    <a:bodyPr/>
                    <a:lstStyle/>
                    <a:p>
                      <a:pPr algn="ctr" fontAlgn="b"/>
                      <a:r>
                        <a:rPr lang="vi-VN" sz="1600" u="none" strike="noStrike">
                          <a:effectLst/>
                          <a:latin typeface="+mj-lt"/>
                        </a:rPr>
                        <a:t>An Lão</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1600" u="none" strike="noStrike">
                          <a:effectLst/>
                          <a:latin typeface="+mj-lt"/>
                        </a:rPr>
                        <a:t>0</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59241875"/>
                  </a:ext>
                </a:extLst>
              </a:tr>
              <a:tr h="318136">
                <a:tc>
                  <a:txBody>
                    <a:bodyPr/>
                    <a:lstStyle/>
                    <a:p>
                      <a:pPr algn="ctr" fontAlgn="b"/>
                      <a:r>
                        <a:rPr lang="vi-VN" sz="1600" u="none" strike="noStrike">
                          <a:effectLst/>
                          <a:latin typeface="+mj-lt"/>
                        </a:rPr>
                        <a:t>Vân Canh</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1600" u="none" strike="noStrike">
                          <a:effectLst/>
                          <a:latin typeface="+mj-lt"/>
                        </a:rPr>
                        <a:t>1</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7375129"/>
                  </a:ext>
                </a:extLst>
              </a:tr>
              <a:tr h="318136">
                <a:tc>
                  <a:txBody>
                    <a:bodyPr/>
                    <a:lstStyle/>
                    <a:p>
                      <a:pPr algn="ctr" fontAlgn="b"/>
                      <a:r>
                        <a:rPr lang="vi-VN" sz="1600" u="none" strike="noStrike">
                          <a:effectLst/>
                          <a:latin typeface="+mj-lt"/>
                        </a:rPr>
                        <a:t>Vĩnh Thạnh</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1600" u="none" strike="noStrike">
                          <a:effectLst/>
                          <a:latin typeface="+mj-lt"/>
                        </a:rPr>
                        <a:t>0</a:t>
                      </a:r>
                      <a:endParaRPr lang="vi-VN" sz="1600" b="0"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78432580"/>
                  </a:ext>
                </a:extLst>
              </a:tr>
              <a:tr h="318136">
                <a:tc>
                  <a:txBody>
                    <a:bodyPr/>
                    <a:lstStyle/>
                    <a:p>
                      <a:pPr algn="ctr" fontAlgn="b"/>
                      <a:r>
                        <a:rPr lang="vi-VN" sz="1600" b="1" u="none" strike="noStrike">
                          <a:effectLst/>
                          <a:latin typeface="+mj-lt"/>
                        </a:rPr>
                        <a:t>TỔNG</a:t>
                      </a:r>
                      <a:endParaRPr lang="vi-VN" sz="1600" b="1"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vi-VN" sz="1600" b="1" u="none" strike="noStrike">
                          <a:effectLst/>
                          <a:latin typeface="+mj-lt"/>
                        </a:rPr>
                        <a:t>168</a:t>
                      </a:r>
                      <a:endParaRPr lang="vi-VN" sz="1600" b="1" i="0" u="none" strike="noStrike">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24101165"/>
                  </a:ext>
                </a:extLst>
              </a:tr>
            </a:tbl>
          </a:graphicData>
        </a:graphic>
      </p:graphicFrame>
    </p:spTree>
    <p:extLst>
      <p:ext uri="{BB962C8B-B14F-4D97-AF65-F5344CB8AC3E}">
        <p14:creationId xmlns:p14="http://schemas.microsoft.com/office/powerpoint/2010/main" val="2489976923"/>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02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FF705920-E1B4-B4D0-9EA4-A27AA5761577}"/>
              </a:ext>
            </a:extLst>
          </p:cNvPr>
          <p:cNvCxnSpPr>
            <a:cxnSpLocks/>
          </p:cNvCxnSpPr>
          <p:nvPr/>
        </p:nvCxnSpPr>
        <p:spPr>
          <a:xfrm>
            <a:off x="777362" y="524236"/>
            <a:ext cx="8408583"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1DC26C3-E6F4-C27A-8624-3A65D81B6008}"/>
              </a:ext>
            </a:extLst>
          </p:cNvPr>
          <p:cNvSpPr/>
          <p:nvPr/>
        </p:nvSpPr>
        <p:spPr>
          <a:xfrm>
            <a:off x="1119325" y="589813"/>
            <a:ext cx="307738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6. Văn hóa – xã hội</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579578985"/>
              </p:ext>
            </p:extLst>
          </p:nvPr>
        </p:nvGraphicFramePr>
        <p:xfrm>
          <a:off x="178965" y="1036320"/>
          <a:ext cx="7522127" cy="5821680"/>
        </p:xfrm>
        <a:graphic>
          <a:graphicData uri="http://schemas.openxmlformats.org/drawingml/2006/table">
            <a:tbl>
              <a:tblPr firstRow="1" bandRow="1"/>
              <a:tblGrid>
                <a:gridCol w="7522127">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N</a:t>
                      </a:r>
                      <a:r>
                        <a:rPr lang="nl-NL" sz="2000" b="0" kern="1200">
                          <a:solidFill>
                            <a:schemeClr val="dk1"/>
                          </a:solidFill>
                          <a:effectLst/>
                          <a:latin typeface="Times New Roman" panose="02020603050405020304" pitchFamily="18" charset="0"/>
                          <a:ea typeface="+mn-ea"/>
                          <a:cs typeface="Times New Roman" panose="02020603050405020304" pitchFamily="18" charset="0"/>
                        </a:rPr>
                        <a:t>gành Giáo dục và Đào tạo đã </a:t>
                      </a:r>
                      <a:r>
                        <a:rPr lang="en-US" sz="2000" b="0" kern="1200">
                          <a:solidFill>
                            <a:schemeClr val="dk1"/>
                          </a:solidFill>
                          <a:effectLst/>
                          <a:latin typeface="Times New Roman" panose="02020603050405020304" pitchFamily="18" charset="0"/>
                          <a:ea typeface="+mn-ea"/>
                          <a:cs typeface="Times New Roman" panose="02020603050405020304" pitchFamily="18" charset="0"/>
                        </a:rPr>
                        <a:t>chỉ đạo các cơ sở giáo dục tiếp tục tổ chức dạy học sau thời gian nghỉ Tết. Tổ chức thành công Cuộc thi Khoa học kỹ thuật học sinh trung học cấp tỉnh năm học 2022-2023. Em Đặng Hoài Bảo, học sinh Trường </a:t>
                      </a:r>
                      <a:r>
                        <a:rPr lang="vi-VN" sz="2000" b="0" kern="1200">
                          <a:solidFill>
                            <a:schemeClr val="dk1"/>
                          </a:solidFill>
                          <a:effectLst/>
                          <a:latin typeface="Times New Roman" panose="02020603050405020304" pitchFamily="18" charset="0"/>
                          <a:ea typeface="+mn-ea"/>
                          <a:cs typeface="Times New Roman" panose="02020603050405020304" pitchFamily="18" charset="0"/>
                        </a:rPr>
                        <a:t>THPT chuyên Lê Quý Đôn Bình Định đứng nhất cuộc thi tháng Olympia 2023</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nl-NL" sz="2000" b="0" kern="1200">
                          <a:solidFill>
                            <a:schemeClr val="dk1"/>
                          </a:solidFill>
                          <a:effectLst/>
                          <a:latin typeface="Times New Roman" panose="02020603050405020304" pitchFamily="18" charset="0"/>
                          <a:ea typeface="+mn-ea"/>
                          <a:cs typeface="Times New Roman" panose="02020603050405020304" pitchFamily="18" charset="0"/>
                        </a:rPr>
                        <a:t>Về văn hóa – thể thao: </a:t>
                      </a:r>
                      <a:r>
                        <a:rPr lang="it-IT" sz="2000" b="0" kern="1200">
                          <a:solidFill>
                            <a:schemeClr val="dk1"/>
                          </a:solidFill>
                          <a:effectLst/>
                          <a:latin typeface="Times New Roman" panose="02020603050405020304" pitchFamily="18" charset="0"/>
                          <a:ea typeface="+mn-ea"/>
                          <a:cs typeface="Times New Roman" panose="02020603050405020304" pitchFamily="18" charset="0"/>
                        </a:rPr>
                        <a:t>Đã tổ chức thành công nhiều Chương trình nghệ thuật, lễ kỷ niệm, tuyên truyền các sự kiện chính trị lớn của đất nước, của tỉnh. Trong tháng đã tổ chức Lễ đón Bằng di sản văn hóa phi vật thể quốc gia “Lễ hội Chùa Bà - Cảng thị Nước Mặn”.</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nl-NL" sz="2000" b="0" kern="1200">
                          <a:solidFill>
                            <a:schemeClr val="dk1"/>
                          </a:solidFill>
                          <a:effectLst/>
                          <a:latin typeface="Times New Roman" panose="02020603050405020304" pitchFamily="18" charset="0"/>
                          <a:ea typeface="+mn-ea"/>
                          <a:cs typeface="Times New Roman" panose="02020603050405020304" pitchFamily="18" charset="0"/>
                        </a:rPr>
                        <a:t>Công tác an sinh xã hội, chăm lo cho các đối tượng chính sách, đồng bào các dân tộc, vùng sâu, vùng xa, hải đảo tiếp tục được thực hiện</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T</a:t>
                      </a:r>
                      <a:r>
                        <a:rPr lang="nl-NL" sz="2000" b="0" kern="1200">
                          <a:solidFill>
                            <a:schemeClr val="dk1"/>
                          </a:solidFill>
                          <a:effectLst/>
                          <a:latin typeface="Times New Roman" panose="02020603050405020304" pitchFamily="18" charset="0"/>
                          <a:ea typeface="+mn-ea"/>
                          <a:cs typeface="Times New Roman" panose="02020603050405020304" pitchFamily="18" charset="0"/>
                        </a:rPr>
                        <a:t>iếp tục tập trung đẩy mạnh công tác phòng, chống</a:t>
                      </a:r>
                      <a:r>
                        <a:rPr lang="vi-VN" sz="2000" b="0" kern="1200">
                          <a:solidFill>
                            <a:schemeClr val="dk1"/>
                          </a:solidFill>
                          <a:effectLst/>
                          <a:latin typeface="Times New Roman" panose="02020603050405020304" pitchFamily="18" charset="0"/>
                          <a:ea typeface="+mn-ea"/>
                          <a:cs typeface="Times New Roman" panose="02020603050405020304" pitchFamily="18" charset="0"/>
                        </a:rPr>
                        <a:t> và tiêm </a:t>
                      </a:r>
                      <a:r>
                        <a:rPr lang="nl-NL" sz="2000" b="0" kern="1200">
                          <a:solidFill>
                            <a:schemeClr val="dk1"/>
                          </a:solidFill>
                          <a:effectLst/>
                          <a:latin typeface="Times New Roman" panose="02020603050405020304" pitchFamily="18" charset="0"/>
                          <a:ea typeface="+mn-ea"/>
                          <a:cs typeface="Times New Roman" panose="02020603050405020304" pitchFamily="18" charset="0"/>
                        </a:rPr>
                        <a:t>vắc-xin </a:t>
                      </a:r>
                      <a:r>
                        <a:rPr lang="vi-VN" sz="2000" b="0" kern="1200">
                          <a:solidFill>
                            <a:schemeClr val="dk1"/>
                          </a:solidFill>
                          <a:effectLst/>
                          <a:latin typeface="Times New Roman" panose="02020603050405020304" pitchFamily="18" charset="0"/>
                          <a:ea typeface="+mn-ea"/>
                          <a:cs typeface="Times New Roman" panose="02020603050405020304" pitchFamily="18" charset="0"/>
                        </a:rPr>
                        <a:t>phòng </a:t>
                      </a:r>
                      <a:r>
                        <a:rPr lang="nl-NL" sz="2000" b="0" kern="1200">
                          <a:solidFill>
                            <a:schemeClr val="dk1"/>
                          </a:solidFill>
                          <a:effectLst/>
                          <a:latin typeface="Times New Roman" panose="02020603050405020304" pitchFamily="18" charset="0"/>
                          <a:ea typeface="+mn-ea"/>
                          <a:cs typeface="Times New Roman" panose="02020603050405020304" pitchFamily="18" charset="0"/>
                        </a:rPr>
                        <a:t>Covid</a:t>
                      </a:r>
                      <a:r>
                        <a:rPr lang="vi-VN" sz="2000" b="0" kern="1200">
                          <a:solidFill>
                            <a:schemeClr val="dk1"/>
                          </a:solidFill>
                          <a:effectLst/>
                          <a:latin typeface="Times New Roman" panose="02020603050405020304" pitchFamily="18" charset="0"/>
                          <a:ea typeface="+mn-ea"/>
                          <a:cs typeface="Times New Roman" panose="02020603050405020304" pitchFamily="18" charset="0"/>
                        </a:rPr>
                        <a:t>-19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 Đã </a:t>
                      </a:r>
                      <a:r>
                        <a:rPr lang="en-US" sz="2000" b="0" kern="1200">
                          <a:solidFill>
                            <a:schemeClr val="dk1"/>
                          </a:solidFill>
                          <a:effectLst/>
                          <a:latin typeface="Times New Roman" panose="02020603050405020304" pitchFamily="18" charset="0"/>
                          <a:ea typeface="+mn-ea"/>
                          <a:cs typeface="Times New Roman" panose="02020603050405020304" pitchFamily="18" charset="0"/>
                        </a:rPr>
                        <a:t>thành lập Ban Chỉ đạo chuyển đổi số tỉnh Bình Định và thực hiện đánh giá chỉ số Chuyển đổi số cấp tỉnh năm 2022. Tiếp tục triển khai các nhiệm vụ, dự án đầu tư trang thiết bị tại Trung tâm giám sát, điều hành IOC </a:t>
                      </a:r>
                      <a:endParaRPr lang="en-US" sz="20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2" name="Picture 1" descr="A picture containing tree, outdoor, dancer, person&#10;&#10;Description automatically generated">
            <a:extLst>
              <a:ext uri="{FF2B5EF4-FFF2-40B4-BE49-F238E27FC236}">
                <a16:creationId xmlns:a16="http://schemas.microsoft.com/office/drawing/2014/main" id="{A99A8BED-D9F8-C6E6-298A-EE3B8881B4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82822" y="3947160"/>
            <a:ext cx="4030211" cy="2375534"/>
          </a:xfrm>
          <a:prstGeom prst="rect">
            <a:avLst/>
          </a:prstGeom>
        </p:spPr>
      </p:pic>
      <p:pic>
        <p:nvPicPr>
          <p:cNvPr id="3" name="Picture 2" descr="A group of people standing on a stage with a sign&#10;&#10;Description automatically generated with low confidence">
            <a:extLst>
              <a:ext uri="{FF2B5EF4-FFF2-40B4-BE49-F238E27FC236}">
                <a16:creationId xmlns:a16="http://schemas.microsoft.com/office/drawing/2014/main" id="{22A7FC88-1858-3541-02D2-84374FC6A4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82823" y="1036320"/>
            <a:ext cx="4030211" cy="2525269"/>
          </a:xfrm>
          <a:prstGeom prst="rect">
            <a:avLst/>
          </a:prstGeom>
        </p:spPr>
      </p:pic>
    </p:spTree>
    <p:extLst>
      <p:ext uri="{BB962C8B-B14F-4D97-AF65-F5344CB8AC3E}">
        <p14:creationId xmlns:p14="http://schemas.microsoft.com/office/powerpoint/2010/main" val="2307671257"/>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02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FF705920-E1B4-B4D0-9EA4-A27AA5761577}"/>
              </a:ext>
            </a:extLst>
          </p:cNvPr>
          <p:cNvCxnSpPr>
            <a:cxnSpLocks/>
          </p:cNvCxnSpPr>
          <p:nvPr/>
        </p:nvCxnSpPr>
        <p:spPr>
          <a:xfrm>
            <a:off x="777362" y="524236"/>
            <a:ext cx="8400194"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01DC26C3-E6F4-C27A-8624-3A65D81B6008}"/>
              </a:ext>
            </a:extLst>
          </p:cNvPr>
          <p:cNvSpPr/>
          <p:nvPr/>
        </p:nvSpPr>
        <p:spPr>
          <a:xfrm>
            <a:off x="1167620" y="759728"/>
            <a:ext cx="2013372"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Nội chính</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3238749861"/>
              </p:ext>
            </p:extLst>
          </p:nvPr>
        </p:nvGraphicFramePr>
        <p:xfrm>
          <a:off x="733051" y="1373100"/>
          <a:ext cx="5648186" cy="2377440"/>
        </p:xfrm>
        <a:graphic>
          <a:graphicData uri="http://schemas.openxmlformats.org/drawingml/2006/table">
            <a:tbl>
              <a:tblPr firstRow="1" bandRow="1"/>
              <a:tblGrid>
                <a:gridCol w="5648186">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nl-NL" sz="2400" b="0" kern="1200">
                          <a:solidFill>
                            <a:schemeClr val="dk1"/>
                          </a:solidFill>
                          <a:effectLst/>
                          <a:latin typeface="Times New Roman" panose="02020603050405020304" pitchFamily="18" charset="0"/>
                          <a:ea typeface="+mn-ea"/>
                          <a:cs typeface="Times New Roman" panose="02020603050405020304" pitchFamily="18" charset="0"/>
                        </a:rPr>
                        <a:t>Tổ chức tốt công tác giao nhận quân năm 2023 theo chỉ tiêu kế hoạch đề ra</a:t>
                      </a: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1" i="1" spc="-10">
                          <a:solidFill>
                            <a:prstClr val="black"/>
                          </a:solidFill>
                          <a:latin typeface="Times New Roman" pitchFamily="18" charset="0"/>
                          <a:ea typeface="Times New Roman" panose="02020603050405020304" pitchFamily="18" charset="0"/>
                          <a:cs typeface="Times New Roman" pitchFamily="18" charset="0"/>
                        </a:rPr>
                        <a:t> </a:t>
                      </a:r>
                      <a:r>
                        <a:rPr lang="it-IT" sz="2400" b="0" i="0" spc="-10">
                          <a:solidFill>
                            <a:prstClr val="black"/>
                          </a:solidFill>
                          <a:latin typeface="Times New Roman" pitchFamily="18" charset="0"/>
                          <a:ea typeface="Times New Roman" panose="02020603050405020304" pitchFamily="18" charset="0"/>
                          <a:cs typeface="Times New Roman" pitchFamily="18" charset="0"/>
                        </a:rPr>
                        <a:t>Tình hình Tai nạn giao thông:</a:t>
                      </a:r>
                      <a:r>
                        <a:rPr lang="it-IT" sz="2400" b="1" i="1" spc="-10">
                          <a:solidFill>
                            <a:prstClr val="black"/>
                          </a:solidFill>
                          <a:latin typeface="Times New Roman" pitchFamily="18" charset="0"/>
                          <a:ea typeface="Times New Roman" panose="02020603050405020304" pitchFamily="18" charset="0"/>
                          <a:cs typeface="Times New Roman" pitchFamily="18" charset="0"/>
                        </a:rPr>
                        <a:t> </a:t>
                      </a:r>
                      <a:r>
                        <a:rPr lang="it-IT" sz="2400" spc="-10">
                          <a:solidFill>
                            <a:prstClr val="black"/>
                          </a:solidFill>
                          <a:latin typeface="Times New Roman" pitchFamily="18" charset="0"/>
                          <a:ea typeface="Times New Roman" panose="02020603050405020304" pitchFamily="18" charset="0"/>
                          <a:cs typeface="Times New Roman" pitchFamily="18" charset="0"/>
                        </a:rPr>
                        <a:t>Đã xảy ra </a:t>
                      </a:r>
                      <a:r>
                        <a:rPr lang="vi-VN" sz="2400" spc="-10">
                          <a:solidFill>
                            <a:prstClr val="black"/>
                          </a:solidFill>
                          <a:latin typeface="Times New Roman" pitchFamily="18" charset="0"/>
                          <a:ea typeface="Times New Roman" panose="02020603050405020304" pitchFamily="18" charset="0"/>
                          <a:cs typeface="Times New Roman" pitchFamily="18" charset="0"/>
                        </a:rPr>
                        <a:t>20</a:t>
                      </a:r>
                      <a:r>
                        <a:rPr lang="it-IT" sz="2400" spc="-10">
                          <a:solidFill>
                            <a:prstClr val="black"/>
                          </a:solidFill>
                          <a:latin typeface="Times New Roman" pitchFamily="18" charset="0"/>
                          <a:ea typeface="Times New Roman" panose="02020603050405020304" pitchFamily="18" charset="0"/>
                          <a:cs typeface="Times New Roman" pitchFamily="18" charset="0"/>
                        </a:rPr>
                        <a:t> vụ, làm </a:t>
                      </a:r>
                      <a:r>
                        <a:rPr lang="vi-VN" sz="2400" spc="-10">
                          <a:solidFill>
                            <a:prstClr val="black"/>
                          </a:solidFill>
                          <a:latin typeface="Times New Roman" pitchFamily="18" charset="0"/>
                          <a:ea typeface="Times New Roman" panose="02020603050405020304" pitchFamily="18" charset="0"/>
                          <a:cs typeface="Times New Roman" pitchFamily="18" charset="0"/>
                        </a:rPr>
                        <a:t>16</a:t>
                      </a:r>
                      <a:r>
                        <a:rPr lang="it-IT" sz="2400" spc="-10">
                          <a:solidFill>
                            <a:prstClr val="black"/>
                          </a:solidFill>
                          <a:latin typeface="Times New Roman" pitchFamily="18" charset="0"/>
                          <a:ea typeface="Times New Roman" panose="02020603050405020304" pitchFamily="18" charset="0"/>
                          <a:cs typeface="Times New Roman" pitchFamily="18" charset="0"/>
                        </a:rPr>
                        <a:t> người chết, </a:t>
                      </a:r>
                      <a:r>
                        <a:rPr lang="vi-VN" sz="2400" spc="-10">
                          <a:solidFill>
                            <a:prstClr val="black"/>
                          </a:solidFill>
                          <a:latin typeface="Times New Roman" pitchFamily="18" charset="0"/>
                          <a:ea typeface="Times New Roman" panose="02020603050405020304" pitchFamily="18" charset="0"/>
                          <a:cs typeface="Times New Roman" pitchFamily="18" charset="0"/>
                        </a:rPr>
                        <a:t>13</a:t>
                      </a:r>
                      <a:r>
                        <a:rPr lang="it-IT" sz="2400" spc="-10">
                          <a:solidFill>
                            <a:prstClr val="black"/>
                          </a:solidFill>
                          <a:latin typeface="Times New Roman" pitchFamily="18" charset="0"/>
                          <a:ea typeface="Times New Roman" panose="02020603050405020304" pitchFamily="18" charset="0"/>
                          <a:cs typeface="Times New Roman" pitchFamily="18" charset="0"/>
                        </a:rPr>
                        <a:t> người bị thương. So với </a:t>
                      </a:r>
                      <a:r>
                        <a:rPr lang="vi-VN" sz="2400" spc="-10">
                          <a:solidFill>
                            <a:prstClr val="black"/>
                          </a:solidFill>
                          <a:latin typeface="Times New Roman" pitchFamily="18" charset="0"/>
                          <a:ea typeface="Times New Roman" panose="02020603050405020304" pitchFamily="18" charset="0"/>
                          <a:cs typeface="Times New Roman" pitchFamily="18" charset="0"/>
                        </a:rPr>
                        <a:t>năm 2022</a:t>
                      </a:r>
                      <a:r>
                        <a:rPr lang="it-IT" sz="2400" spc="-10">
                          <a:solidFill>
                            <a:prstClr val="black"/>
                          </a:solidFill>
                          <a:latin typeface="Times New Roman" pitchFamily="18" charset="0"/>
                          <a:ea typeface="Times New Roman" panose="02020603050405020304" pitchFamily="18" charset="0"/>
                          <a:cs typeface="Times New Roman" pitchFamily="18" charset="0"/>
                        </a:rPr>
                        <a:t> </a:t>
                      </a:r>
                      <a:r>
                        <a:rPr lang="vi-VN" sz="2400" spc="-10">
                          <a:solidFill>
                            <a:prstClr val="black"/>
                          </a:solidFill>
                          <a:latin typeface="Times New Roman" pitchFamily="18" charset="0"/>
                          <a:ea typeface="Times New Roman" panose="02020603050405020304" pitchFamily="18" charset="0"/>
                          <a:cs typeface="Times New Roman" pitchFamily="18" charset="0"/>
                        </a:rPr>
                        <a:t>giảm 05</a:t>
                      </a:r>
                      <a:r>
                        <a:rPr lang="it-IT" sz="2400" spc="-10">
                          <a:solidFill>
                            <a:prstClr val="black"/>
                          </a:solidFill>
                          <a:latin typeface="Times New Roman" pitchFamily="18" charset="0"/>
                          <a:ea typeface="Times New Roman" panose="02020603050405020304" pitchFamily="18" charset="0"/>
                          <a:cs typeface="Times New Roman" pitchFamily="18" charset="0"/>
                        </a:rPr>
                        <a:t> vụ, </a:t>
                      </a:r>
                      <a:r>
                        <a:rPr lang="vi-VN" sz="2400" spc="-10">
                          <a:solidFill>
                            <a:prstClr val="black"/>
                          </a:solidFill>
                          <a:latin typeface="Times New Roman" pitchFamily="18" charset="0"/>
                          <a:ea typeface="Times New Roman" panose="02020603050405020304" pitchFamily="18" charset="0"/>
                          <a:cs typeface="Times New Roman" pitchFamily="18" charset="0"/>
                        </a:rPr>
                        <a:t>giảm  06</a:t>
                      </a:r>
                      <a:r>
                        <a:rPr lang="it-IT" sz="2400" spc="-10">
                          <a:solidFill>
                            <a:prstClr val="black"/>
                          </a:solidFill>
                          <a:latin typeface="Times New Roman" pitchFamily="18" charset="0"/>
                          <a:ea typeface="Times New Roman" panose="02020603050405020304" pitchFamily="18" charset="0"/>
                          <a:cs typeface="Times New Roman" pitchFamily="18" charset="0"/>
                        </a:rPr>
                        <a:t> người chết và </a:t>
                      </a:r>
                      <a:r>
                        <a:rPr lang="vi-VN" sz="2400" spc="-10">
                          <a:solidFill>
                            <a:prstClr val="black"/>
                          </a:solidFill>
                          <a:latin typeface="Times New Roman" pitchFamily="18" charset="0"/>
                          <a:ea typeface="Times New Roman" panose="02020603050405020304" pitchFamily="18" charset="0"/>
                          <a:cs typeface="Times New Roman" pitchFamily="18" charset="0"/>
                        </a:rPr>
                        <a:t>tăng 04</a:t>
                      </a:r>
                      <a:r>
                        <a:rPr lang="it-IT" sz="2400" spc="-10">
                          <a:solidFill>
                            <a:prstClr val="black"/>
                          </a:solidFill>
                          <a:latin typeface="Times New Roman" pitchFamily="18" charset="0"/>
                          <a:ea typeface="Times New Roman" panose="02020603050405020304" pitchFamily="18" charset="0"/>
                          <a:cs typeface="Times New Roman" pitchFamily="18" charset="0"/>
                        </a:rPr>
                        <a:t> người bị thương</a:t>
                      </a:r>
                      <a:endParaRPr lang="en-US" sz="2400" spc="-10">
                        <a:solidFill>
                          <a:prstClr val="black"/>
                        </a:solidFill>
                        <a:latin typeface="Times New Roman" pitchFamily="18" charset="0"/>
                        <a:ea typeface="Times New Roman" panose="02020603050405020304" pitchFamily="18" charset="0"/>
                        <a:cs typeface="Times New Roman"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3" name="Picture 2" descr="A picture containing text, person&#10;&#10;Description automatically generated">
            <a:extLst>
              <a:ext uri="{FF2B5EF4-FFF2-40B4-BE49-F238E27FC236}">
                <a16:creationId xmlns:a16="http://schemas.microsoft.com/office/drawing/2014/main" id="{F1C86665-484F-794D-CFA7-5A2693500F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38930" y="3891936"/>
            <a:ext cx="4649145" cy="2880046"/>
          </a:xfrm>
          <a:prstGeom prst="rect">
            <a:avLst/>
          </a:prstGeom>
        </p:spPr>
      </p:pic>
      <p:pic>
        <p:nvPicPr>
          <p:cNvPr id="7" name="Picture 6" descr="Timeline&#10;&#10;Description automatically generated">
            <a:extLst>
              <a:ext uri="{FF2B5EF4-FFF2-40B4-BE49-F238E27FC236}">
                <a16:creationId xmlns:a16="http://schemas.microsoft.com/office/drawing/2014/main" id="{26274E26-13C4-619E-13E0-2799671F38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7620" y="3851982"/>
            <a:ext cx="4649144" cy="2959955"/>
          </a:xfrm>
          <a:prstGeom prst="rect">
            <a:avLst/>
          </a:prstGeom>
        </p:spPr>
      </p:pic>
      <p:pic>
        <p:nvPicPr>
          <p:cNvPr id="5" name="Picture 4" descr="Company name&#10;&#10;Description automatically generated">
            <a:extLst>
              <a:ext uri="{FF2B5EF4-FFF2-40B4-BE49-F238E27FC236}">
                <a16:creationId xmlns:a16="http://schemas.microsoft.com/office/drawing/2014/main" id="{A2E80A29-18BA-20CE-B5E1-822C6F11226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65318" y="755784"/>
            <a:ext cx="2671460" cy="2994756"/>
          </a:xfrm>
          <a:prstGeom prst="rect">
            <a:avLst/>
          </a:prstGeom>
        </p:spPr>
      </p:pic>
    </p:spTree>
    <p:extLst>
      <p:ext uri="{BB962C8B-B14F-4D97-AF65-F5344CB8AC3E}">
        <p14:creationId xmlns:p14="http://schemas.microsoft.com/office/powerpoint/2010/main" val="2802465441"/>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278934" y="2131519"/>
            <a:ext cx="5299743"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954107"/>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NHIỆM VỤ TRỌNG TÂM THÁNG 3 NĂM 2023</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278936" y="473785"/>
            <a:ext cx="1681494"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7" name="Picture 16" descr="A picture containing water, boat, outdoor, sunset&#10;&#10;Description automatically generated">
            <a:extLst>
              <a:ext uri="{FF2B5EF4-FFF2-40B4-BE49-F238E27FC236}">
                <a16:creationId xmlns:a16="http://schemas.microsoft.com/office/drawing/2014/main" id="{7BB10B8D-40BC-355F-AFFF-D6C74DD36E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0" y="0"/>
            <a:ext cx="6615920" cy="6858000"/>
          </a:xfrm>
          <a:prstGeom prst="rect">
            <a:avLst/>
          </a:prstGeom>
        </p:spPr>
      </p:pic>
    </p:spTree>
    <p:extLst>
      <p:ext uri="{BB962C8B-B14F-4D97-AF65-F5344CB8AC3E}">
        <p14:creationId xmlns:p14="http://schemas.microsoft.com/office/powerpoint/2010/main" val="38982267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6CE58D-FB5F-1D10-4BAF-E7B0E8BB9294}"/>
              </a:ext>
            </a:extLst>
          </p:cNvPr>
          <p:cNvSpPr txBox="1">
            <a:spLocks/>
          </p:cNvSpPr>
          <p:nvPr/>
        </p:nvSpPr>
        <p:spPr>
          <a:xfrm>
            <a:off x="680978" y="115647"/>
            <a:ext cx="10830044"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2800" b="1">
                <a:solidFill>
                  <a:srgbClr val="064273"/>
                </a:solidFill>
                <a:latin typeface="Times New Roman" panose="02020603050405020304" pitchFamily="18" charset="0"/>
                <a:ea typeface="+mn-ea"/>
                <a:cs typeface="Times New Roman" panose="02020603050405020304" pitchFamily="18" charset="0"/>
              </a:rPr>
              <a:t>II. </a:t>
            </a:r>
            <a:r>
              <a:rPr lang="en-US" sz="2800" b="1" dirty="0">
                <a:solidFill>
                  <a:srgbClr val="064273"/>
                </a:solidFill>
                <a:latin typeface="Times New Roman" panose="02020603050405020304" pitchFamily="18" charset="0"/>
                <a:ea typeface="+mn-ea"/>
                <a:cs typeface="Times New Roman" panose="02020603050405020304" pitchFamily="18" charset="0"/>
              </a:rPr>
              <a:t>NHIỆM VỤ TRỌNG </a:t>
            </a:r>
            <a:r>
              <a:rPr lang="en-US" sz="2800" b="1">
                <a:solidFill>
                  <a:srgbClr val="064273"/>
                </a:solidFill>
                <a:latin typeface="Times New Roman" panose="02020603050405020304" pitchFamily="18" charset="0"/>
                <a:ea typeface="+mn-ea"/>
                <a:cs typeface="Times New Roman" panose="02020603050405020304" pitchFamily="18" charset="0"/>
              </a:rPr>
              <a:t>TÂM THÁNG 3 NĂM </a:t>
            </a:r>
            <a:r>
              <a:rPr lang="en-US" sz="2800" b="1" dirty="0">
                <a:solidFill>
                  <a:srgbClr val="064273"/>
                </a:solidFill>
                <a:latin typeface="Times New Roman" panose="02020603050405020304" pitchFamily="18" charset="0"/>
                <a:ea typeface="+mn-ea"/>
                <a:cs typeface="Times New Roman" panose="02020603050405020304" pitchFamily="18" charset="0"/>
              </a:rPr>
              <a:t>2023</a:t>
            </a:r>
            <a:endParaRPr lang="vi-VN" sz="2800" b="1" dirty="0">
              <a:solidFill>
                <a:srgbClr val="064273"/>
              </a:solidFill>
              <a:latin typeface="Times New Roman" panose="02020603050405020304" pitchFamily="18" charset="0"/>
              <a:ea typeface="+mn-ea"/>
              <a:cs typeface="Times New Roman" panose="02020603050405020304" pitchFamily="18" charset="0"/>
            </a:endParaRPr>
          </a:p>
        </p:txBody>
      </p:sp>
      <p:graphicFrame>
        <p:nvGraphicFramePr>
          <p:cNvPr id="2" name="Content Placeholder 5">
            <a:extLst>
              <a:ext uri="{FF2B5EF4-FFF2-40B4-BE49-F238E27FC236}">
                <a16:creationId xmlns:a16="http://schemas.microsoft.com/office/drawing/2014/main" id="{A091C242-D65F-E0C5-16D6-B15756DA14A6}"/>
              </a:ext>
            </a:extLst>
          </p:cNvPr>
          <p:cNvGraphicFramePr>
            <a:graphicFrameLocks noGrp="1"/>
          </p:cNvGraphicFramePr>
          <p:nvPr>
            <p:ph idx="1"/>
            <p:extLst>
              <p:ext uri="{D42A27DB-BD31-4B8C-83A1-F6EECF244321}">
                <p14:modId xmlns:p14="http://schemas.microsoft.com/office/powerpoint/2010/main" val="3264346322"/>
              </p:ext>
            </p:extLst>
          </p:nvPr>
        </p:nvGraphicFramePr>
        <p:xfrm>
          <a:off x="541421" y="756058"/>
          <a:ext cx="11196489" cy="59619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5" name="Straight Connector 4">
            <a:extLst>
              <a:ext uri="{FF2B5EF4-FFF2-40B4-BE49-F238E27FC236}">
                <a16:creationId xmlns:a16="http://schemas.microsoft.com/office/drawing/2014/main" id="{B76B30D3-4366-089A-F34D-48B859C3B869}"/>
              </a:ext>
            </a:extLst>
          </p:cNvPr>
          <p:cNvCxnSpPr>
            <a:cxnSpLocks/>
          </p:cNvCxnSpPr>
          <p:nvPr/>
        </p:nvCxnSpPr>
        <p:spPr>
          <a:xfrm>
            <a:off x="867375" y="598248"/>
            <a:ext cx="8167568"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4573862"/>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6CE58D-FB5F-1D10-4BAF-E7B0E8BB9294}"/>
              </a:ext>
            </a:extLst>
          </p:cNvPr>
          <p:cNvSpPr txBox="1">
            <a:spLocks/>
          </p:cNvSpPr>
          <p:nvPr/>
        </p:nvSpPr>
        <p:spPr>
          <a:xfrm>
            <a:off x="680978" y="187732"/>
            <a:ext cx="10830044"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2800" b="1">
                <a:solidFill>
                  <a:srgbClr val="064273"/>
                </a:solidFill>
                <a:latin typeface="Times New Roman" panose="02020603050405020304" pitchFamily="18" charset="0"/>
                <a:ea typeface="+mn-ea"/>
                <a:cs typeface="Times New Roman" panose="02020603050405020304" pitchFamily="18" charset="0"/>
              </a:rPr>
              <a:t>II. </a:t>
            </a:r>
            <a:r>
              <a:rPr lang="en-US" sz="2800" b="1" dirty="0">
                <a:solidFill>
                  <a:srgbClr val="064273"/>
                </a:solidFill>
                <a:latin typeface="Times New Roman" panose="02020603050405020304" pitchFamily="18" charset="0"/>
                <a:ea typeface="+mn-ea"/>
                <a:cs typeface="Times New Roman" panose="02020603050405020304" pitchFamily="18" charset="0"/>
              </a:rPr>
              <a:t>NHIỆM </a:t>
            </a:r>
            <a:r>
              <a:rPr lang="en-US" sz="2800" b="1">
                <a:solidFill>
                  <a:srgbClr val="064273"/>
                </a:solidFill>
                <a:latin typeface="Times New Roman" panose="02020603050405020304" pitchFamily="18" charset="0"/>
                <a:ea typeface="+mn-ea"/>
                <a:cs typeface="Times New Roman" panose="02020603050405020304" pitchFamily="18" charset="0"/>
              </a:rPr>
              <a:t>VỤ TRỌNG TÂM THÁNG 3 </a:t>
            </a:r>
            <a:r>
              <a:rPr lang="en-US" sz="2800" b="1" dirty="0">
                <a:solidFill>
                  <a:srgbClr val="064273"/>
                </a:solidFill>
                <a:latin typeface="Times New Roman" panose="02020603050405020304" pitchFamily="18" charset="0"/>
                <a:ea typeface="+mn-ea"/>
                <a:cs typeface="Times New Roman" panose="02020603050405020304" pitchFamily="18" charset="0"/>
              </a:rPr>
              <a:t>NĂM 2023</a:t>
            </a:r>
            <a:endParaRPr lang="vi-VN" sz="2800" b="1" dirty="0">
              <a:solidFill>
                <a:srgbClr val="064273"/>
              </a:solidFill>
              <a:latin typeface="Times New Roman" panose="02020603050405020304" pitchFamily="18" charset="0"/>
              <a:ea typeface="+mn-ea"/>
              <a:cs typeface="Times New Roman" panose="02020603050405020304" pitchFamily="18" charset="0"/>
            </a:endParaRPr>
          </a:p>
        </p:txBody>
      </p:sp>
      <p:graphicFrame>
        <p:nvGraphicFramePr>
          <p:cNvPr id="2" name="Content Placeholder 5">
            <a:extLst>
              <a:ext uri="{FF2B5EF4-FFF2-40B4-BE49-F238E27FC236}">
                <a16:creationId xmlns:a16="http://schemas.microsoft.com/office/drawing/2014/main" id="{A091C242-D65F-E0C5-16D6-B15756DA14A6}"/>
              </a:ext>
            </a:extLst>
          </p:cNvPr>
          <p:cNvGraphicFramePr>
            <a:graphicFrameLocks noGrp="1"/>
          </p:cNvGraphicFramePr>
          <p:nvPr>
            <p:ph idx="1"/>
            <p:extLst>
              <p:ext uri="{D42A27DB-BD31-4B8C-83A1-F6EECF244321}">
                <p14:modId xmlns:p14="http://schemas.microsoft.com/office/powerpoint/2010/main" val="1977871402"/>
              </p:ext>
            </p:extLst>
          </p:nvPr>
        </p:nvGraphicFramePr>
        <p:xfrm>
          <a:off x="838200" y="1067456"/>
          <a:ext cx="10899710" cy="56170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6" name="Straight Connector 5">
            <a:extLst>
              <a:ext uri="{FF2B5EF4-FFF2-40B4-BE49-F238E27FC236}">
                <a16:creationId xmlns:a16="http://schemas.microsoft.com/office/drawing/2014/main" id="{AF18982B-1EB8-38FB-804F-68378B0CB0EE}"/>
              </a:ext>
            </a:extLst>
          </p:cNvPr>
          <p:cNvCxnSpPr>
            <a:cxnSpLocks/>
          </p:cNvCxnSpPr>
          <p:nvPr/>
        </p:nvCxnSpPr>
        <p:spPr>
          <a:xfrm>
            <a:off x="838200" y="756058"/>
            <a:ext cx="8272244"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3831680"/>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1534023" y="4599541"/>
            <a:ext cx="9400596" cy="1323439"/>
          </a:xfrm>
          <a:prstGeom prst="rect">
            <a:avLst/>
          </a:prstGeom>
        </p:spPr>
        <p:txBody>
          <a:bodyPr wrap="square">
            <a:spAutoFit/>
          </a:bodyPr>
          <a:lstStyle/>
          <a:p>
            <a:pPr algn="ctr"/>
            <a:r>
              <a:rPr lang="en-US" sz="8000" b="1" i="1" spc="-10">
                <a:latin typeface="Times New Roman" panose="02020603050405020304" pitchFamily="18" charset="0"/>
                <a:ea typeface="Times New Roman" panose="02020603050405020304" pitchFamily="18" charset="0"/>
                <a:cs typeface="Times New Roman" panose="02020603050405020304" pitchFamily="18" charset="0"/>
              </a:rPr>
              <a:t>Trân trọng cảm ơn</a:t>
            </a:r>
            <a:r>
              <a:rPr lang="en-US" sz="8000" b="1" i="1" spc="-1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1500" b="1" i="1">
              <a:latin typeface="Times New Roman" panose="02020603050405020304" pitchFamily="18" charset="0"/>
              <a:cs typeface="Times New Roman" pitchFamily="18" charset="0"/>
            </a:endParaRPr>
          </a:p>
        </p:txBody>
      </p:sp>
    </p:spTree>
    <p:extLst>
      <p:ext uri="{BB962C8B-B14F-4D97-AF65-F5344CB8AC3E}">
        <p14:creationId xmlns:p14="http://schemas.microsoft.com/office/powerpoint/2010/main" val="33718198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176064" y="196746"/>
            <a:ext cx="11681460"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rPr>
              <a:t>VỀ GIAO CH</a:t>
            </a:r>
            <a:r>
              <a:rPr lang="en-US" sz="2600" b="1">
                <a:solidFill>
                  <a:srgbClr val="040206"/>
                </a:solidFill>
                <a:latin typeface="Times New Roman" panose="02020603050405020304" pitchFamily="18" charset="0"/>
                <a:cs typeface="Times New Roman" panose="02020603050405020304" pitchFamily="18" charset="0"/>
              </a:rPr>
              <a:t>Ỉ TIÊU KẾ HOẠCH NĂM 2023</a:t>
            </a:r>
            <a:endPar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2" name="Table 1">
            <a:extLst>
              <a:ext uri="{FF2B5EF4-FFF2-40B4-BE49-F238E27FC236}">
                <a16:creationId xmlns:a16="http://schemas.microsoft.com/office/drawing/2014/main" id="{FBFFDBCD-49A2-B604-F9E9-B81E95DF4EB5}"/>
              </a:ext>
            </a:extLst>
          </p:cNvPr>
          <p:cNvGraphicFramePr>
            <a:graphicFrameLocks noGrp="1"/>
          </p:cNvGraphicFramePr>
          <p:nvPr>
            <p:extLst>
              <p:ext uri="{D42A27DB-BD31-4B8C-83A1-F6EECF244321}">
                <p14:modId xmlns:p14="http://schemas.microsoft.com/office/powerpoint/2010/main" val="1931866664"/>
              </p:ext>
            </p:extLst>
          </p:nvPr>
        </p:nvGraphicFramePr>
        <p:xfrm>
          <a:off x="7369414" y="885935"/>
          <a:ext cx="4546833" cy="3291840"/>
        </p:xfrm>
        <a:graphic>
          <a:graphicData uri="http://schemas.openxmlformats.org/drawingml/2006/table">
            <a:tbl>
              <a:tblPr firstRow="1" bandRow="1"/>
              <a:tblGrid>
                <a:gridCol w="4546833">
                  <a:extLst>
                    <a:ext uri="{9D8B030D-6E8A-4147-A177-3AD203B41FA5}">
                      <a16:colId xmlns:a16="http://schemas.microsoft.com/office/drawing/2014/main" val="3655493598"/>
                    </a:ext>
                  </a:extLst>
                </a:gridCol>
              </a:tblGrid>
              <a:tr h="312909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1" kern="1200">
                          <a:solidFill>
                            <a:schemeClr val="dk1"/>
                          </a:solidFill>
                          <a:effectLst/>
                          <a:latin typeface="Times New Roman" panose="02020603050405020304" pitchFamily="18" charset="0"/>
                          <a:ea typeface="+mn-ea"/>
                          <a:cs typeface="Times New Roman" panose="02020603050405020304" pitchFamily="18" charset="0"/>
                        </a:rPr>
                        <a:t>An Nhơn</a:t>
                      </a:r>
                      <a:r>
                        <a:rPr lang="en-US" sz="2000" b="0" kern="1200">
                          <a:solidFill>
                            <a:schemeClr val="dk1"/>
                          </a:solidFill>
                          <a:effectLst/>
                          <a:latin typeface="Times New Roman" panose="02020603050405020304" pitchFamily="18" charset="0"/>
                          <a:ea typeface="+mn-ea"/>
                          <a:cs typeface="Times New Roman" panose="02020603050405020304" pitchFamily="18" charset="0"/>
                        </a:rPr>
                        <a:t>: 4/14 chỉ tiêu giao cao hơn UBND tỉnh thông báo (Thu ngân sách; Đào tạo nghề cho lao động nông thôn; Tỷ lệ đô thị sử dụng nước sạch và Tỷ lệ chất thải rắn được thu gom); 10/14 chỉ tiêu giao bằng với thông báo của UBND tỉn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Thị xã đã giao chi tiết cho các địa phương và cũng giao chi tiết theo từng quý, tháng</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5" name="Table 4">
            <a:extLst>
              <a:ext uri="{FF2B5EF4-FFF2-40B4-BE49-F238E27FC236}">
                <a16:creationId xmlns:a16="http://schemas.microsoft.com/office/drawing/2014/main" id="{2B4146F0-5FAC-C89A-56F3-3309C1B8BC8B}"/>
              </a:ext>
            </a:extLst>
          </p:cNvPr>
          <p:cNvGraphicFramePr>
            <a:graphicFrameLocks noGrp="1"/>
          </p:cNvGraphicFramePr>
          <p:nvPr>
            <p:extLst>
              <p:ext uri="{D42A27DB-BD31-4B8C-83A1-F6EECF244321}">
                <p14:modId xmlns:p14="http://schemas.microsoft.com/office/powerpoint/2010/main" val="2332158094"/>
              </p:ext>
            </p:extLst>
          </p:nvPr>
        </p:nvGraphicFramePr>
        <p:xfrm>
          <a:off x="410624" y="873145"/>
          <a:ext cx="6820686" cy="5594773"/>
        </p:xfrm>
        <a:graphic>
          <a:graphicData uri="http://schemas.openxmlformats.org/drawingml/2006/table">
            <a:tbl>
              <a:tblPr>
                <a:tableStyleId>{5C22544A-7EE6-4342-B048-85BDC9FD1C3A}</a:tableStyleId>
              </a:tblPr>
              <a:tblGrid>
                <a:gridCol w="395823">
                  <a:extLst>
                    <a:ext uri="{9D8B030D-6E8A-4147-A177-3AD203B41FA5}">
                      <a16:colId xmlns:a16="http://schemas.microsoft.com/office/drawing/2014/main" val="3460152811"/>
                    </a:ext>
                  </a:extLst>
                </a:gridCol>
                <a:gridCol w="3229204">
                  <a:extLst>
                    <a:ext uri="{9D8B030D-6E8A-4147-A177-3AD203B41FA5}">
                      <a16:colId xmlns:a16="http://schemas.microsoft.com/office/drawing/2014/main" val="754245006"/>
                    </a:ext>
                  </a:extLst>
                </a:gridCol>
                <a:gridCol w="796119">
                  <a:extLst>
                    <a:ext uri="{9D8B030D-6E8A-4147-A177-3AD203B41FA5}">
                      <a16:colId xmlns:a16="http://schemas.microsoft.com/office/drawing/2014/main" val="1504579422"/>
                    </a:ext>
                  </a:extLst>
                </a:gridCol>
                <a:gridCol w="706668">
                  <a:extLst>
                    <a:ext uri="{9D8B030D-6E8A-4147-A177-3AD203B41FA5}">
                      <a16:colId xmlns:a16="http://schemas.microsoft.com/office/drawing/2014/main" val="46814127"/>
                    </a:ext>
                  </a:extLst>
                </a:gridCol>
                <a:gridCol w="100633">
                  <a:extLst>
                    <a:ext uri="{9D8B030D-6E8A-4147-A177-3AD203B41FA5}">
                      <a16:colId xmlns:a16="http://schemas.microsoft.com/office/drawing/2014/main" val="3604081843"/>
                    </a:ext>
                  </a:extLst>
                </a:gridCol>
                <a:gridCol w="706668">
                  <a:extLst>
                    <a:ext uri="{9D8B030D-6E8A-4147-A177-3AD203B41FA5}">
                      <a16:colId xmlns:a16="http://schemas.microsoft.com/office/drawing/2014/main" val="89577273"/>
                    </a:ext>
                  </a:extLst>
                </a:gridCol>
                <a:gridCol w="885571">
                  <a:extLst>
                    <a:ext uri="{9D8B030D-6E8A-4147-A177-3AD203B41FA5}">
                      <a16:colId xmlns:a16="http://schemas.microsoft.com/office/drawing/2014/main" val="457779249"/>
                    </a:ext>
                  </a:extLst>
                </a:gridCol>
              </a:tblGrid>
              <a:tr h="371990">
                <a:tc>
                  <a:txBody>
                    <a:bodyPr/>
                    <a:lstStyle/>
                    <a:p>
                      <a:pPr algn="ctr" fontAlgn="ctr"/>
                      <a:r>
                        <a:rPr lang="vi-VN" sz="1100" u="none" strike="noStrike">
                          <a:solidFill>
                            <a:schemeClr val="tx1"/>
                          </a:solidFill>
                          <a:effectLst/>
                          <a:latin typeface="+mj-lt"/>
                        </a:rPr>
                        <a:t>STT</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Chỉ tiêu</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Đơn vị tính</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vi-VN" sz="1100" u="none" strike="noStrike">
                          <a:solidFill>
                            <a:schemeClr val="tx1"/>
                          </a:solidFill>
                          <a:effectLst/>
                          <a:latin typeface="+mj-lt"/>
                        </a:rPr>
                        <a:t>Kế hoạch 2023 tỉnh giao</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a:txBody>
                    <a:bodyPr/>
                    <a:lstStyle/>
                    <a:p>
                      <a:pPr algn="ctr" fontAlgn="ctr"/>
                      <a:r>
                        <a:rPr lang="vi-VN" sz="1100" u="none" strike="noStrike">
                          <a:solidFill>
                            <a:schemeClr val="tx1"/>
                          </a:solidFill>
                          <a:effectLst/>
                          <a:latin typeface="+mj-lt"/>
                        </a:rPr>
                        <a:t>Địa phương giao</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02933814"/>
                  </a:ext>
                </a:extLst>
              </a:tr>
              <a:tr h="185995">
                <a:tc>
                  <a:txBody>
                    <a:bodyPr/>
                    <a:lstStyle/>
                    <a:p>
                      <a:pPr algn="ctr" fontAlgn="ctr"/>
                      <a:r>
                        <a:rPr lang="vi-VN" sz="1100" u="none" strike="noStrike">
                          <a:solidFill>
                            <a:schemeClr val="tx1"/>
                          </a:solidFill>
                          <a:effectLst/>
                          <a:latin typeface="+mj-lt"/>
                        </a:rPr>
                        <a:t>1</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Tổng giá trị sản phẩm (giá so sánh)</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Triệu đồng</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22.767.749</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22.930.749</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22.930.749</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02487260"/>
                  </a:ext>
                </a:extLst>
              </a:tr>
              <a:tr h="185995">
                <a:tc>
                  <a:txBody>
                    <a:bodyPr/>
                    <a:lstStyle/>
                    <a:p>
                      <a:pPr algn="ctr" fontAlgn="ctr"/>
                      <a:r>
                        <a:rPr lang="vi-VN" sz="1100" u="none" strike="noStrike">
                          <a:solidFill>
                            <a:schemeClr val="tx1"/>
                          </a:solidFill>
                          <a:effectLst/>
                          <a:latin typeface="+mj-lt"/>
                        </a:rPr>
                        <a:t> </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 Nông, lâm, thuỷ sản</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Triệu đồng</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1.987.676</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1.987.676</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1.987.676</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5298035"/>
                  </a:ext>
                </a:extLst>
              </a:tr>
              <a:tr h="185995">
                <a:tc>
                  <a:txBody>
                    <a:bodyPr/>
                    <a:lstStyle/>
                    <a:p>
                      <a:pPr algn="ctr" fontAlgn="ctr"/>
                      <a:r>
                        <a:rPr lang="vi-VN" sz="1100" u="none" strike="noStrike">
                          <a:solidFill>
                            <a:schemeClr val="tx1"/>
                          </a:solidFill>
                          <a:effectLst/>
                          <a:latin typeface="+mj-lt"/>
                        </a:rPr>
                        <a:t> </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 Công nghiệp và xây dựng</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Triệu đồng</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16.807.436</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16.951.697</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16.951.697</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98774898"/>
                  </a:ext>
                </a:extLst>
              </a:tr>
              <a:tr h="185995">
                <a:tc>
                  <a:txBody>
                    <a:bodyPr/>
                    <a:lstStyle/>
                    <a:p>
                      <a:pPr algn="ctr" fontAlgn="ctr"/>
                      <a:r>
                        <a:rPr lang="vi-VN" sz="1100" u="none" strike="noStrike">
                          <a:solidFill>
                            <a:schemeClr val="tx1"/>
                          </a:solidFill>
                          <a:effectLst/>
                          <a:latin typeface="+mj-lt"/>
                        </a:rPr>
                        <a:t> </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     + Công nghiệp</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Triệu đồng</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14.317.824</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14.450.396</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14.450.396</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58618763"/>
                  </a:ext>
                </a:extLst>
              </a:tr>
              <a:tr h="185995">
                <a:tc>
                  <a:txBody>
                    <a:bodyPr/>
                    <a:lstStyle/>
                    <a:p>
                      <a:pPr algn="ctr" fontAlgn="ctr"/>
                      <a:r>
                        <a:rPr lang="vi-VN" sz="1100" u="none" strike="noStrike">
                          <a:solidFill>
                            <a:schemeClr val="tx1"/>
                          </a:solidFill>
                          <a:effectLst/>
                          <a:latin typeface="+mj-lt"/>
                        </a:rPr>
                        <a:t> </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     + Xây dựng</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Triệu đồng</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2.489.612</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2.501.301</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2.501.301</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13248307"/>
                  </a:ext>
                </a:extLst>
              </a:tr>
              <a:tr h="185995">
                <a:tc>
                  <a:txBody>
                    <a:bodyPr/>
                    <a:lstStyle/>
                    <a:p>
                      <a:pPr algn="ctr" fontAlgn="ctr"/>
                      <a:r>
                        <a:rPr lang="vi-VN" sz="1100" u="none" strike="noStrike">
                          <a:solidFill>
                            <a:schemeClr val="tx1"/>
                          </a:solidFill>
                          <a:effectLst/>
                          <a:latin typeface="+mj-lt"/>
                        </a:rPr>
                        <a:t> </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 Dịch vụ</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Triệu đồng</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3.972.637</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3.991.376</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3.991.376</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72049985"/>
                  </a:ext>
                </a:extLst>
              </a:tr>
              <a:tr h="185995">
                <a:tc>
                  <a:txBody>
                    <a:bodyPr/>
                    <a:lstStyle/>
                    <a:p>
                      <a:pPr algn="ctr" fontAlgn="ctr"/>
                      <a:r>
                        <a:rPr lang="vi-VN" sz="1100" u="none" strike="noStrike">
                          <a:solidFill>
                            <a:schemeClr val="tx1"/>
                          </a:solidFill>
                          <a:effectLst/>
                          <a:latin typeface="+mj-lt"/>
                        </a:rPr>
                        <a:t>2</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Tốc độ tăng giá trị sản phẩm</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6,98</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7,75</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7,75</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02602776"/>
                  </a:ext>
                </a:extLst>
              </a:tr>
              <a:tr h="185995">
                <a:tc>
                  <a:txBody>
                    <a:bodyPr/>
                    <a:lstStyle/>
                    <a:p>
                      <a:pPr algn="ctr" fontAlgn="ctr"/>
                      <a:r>
                        <a:rPr lang="vi-VN" sz="1100" u="none" strike="noStrike">
                          <a:solidFill>
                            <a:schemeClr val="tx1"/>
                          </a:solidFill>
                          <a:effectLst/>
                          <a:latin typeface="+mj-lt"/>
                        </a:rPr>
                        <a:t>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 Nông, lâm, thuỷ sản</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2,50</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2,50</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2,50</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12036345"/>
                  </a:ext>
                </a:extLst>
              </a:tr>
              <a:tr h="185995">
                <a:tc>
                  <a:txBody>
                    <a:bodyPr/>
                    <a:lstStyle/>
                    <a:p>
                      <a:pPr algn="ctr" fontAlgn="ctr"/>
                      <a:r>
                        <a:rPr lang="vi-VN" sz="1100" u="none" strike="noStrike">
                          <a:solidFill>
                            <a:schemeClr val="tx1"/>
                          </a:solidFill>
                          <a:effectLst/>
                          <a:latin typeface="+mj-lt"/>
                        </a:rPr>
                        <a:t>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 Công nghiệp và xây dựng</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7,78</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8,70</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8,70</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1067640"/>
                  </a:ext>
                </a:extLst>
              </a:tr>
              <a:tr h="185995">
                <a:tc>
                  <a:txBody>
                    <a:bodyPr/>
                    <a:lstStyle/>
                    <a:p>
                      <a:pPr algn="ctr" fontAlgn="ctr"/>
                      <a:r>
                        <a:rPr lang="vi-VN" sz="1100" u="none" strike="noStrike">
                          <a:solidFill>
                            <a:schemeClr val="tx1"/>
                          </a:solidFill>
                          <a:effectLst/>
                          <a:latin typeface="+mj-lt"/>
                        </a:rPr>
                        <a:t> </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     + Công nghiệp</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8,00</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9,00</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9,00</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53192142"/>
                  </a:ext>
                </a:extLst>
              </a:tr>
              <a:tr h="185995">
                <a:tc>
                  <a:txBody>
                    <a:bodyPr/>
                    <a:lstStyle/>
                    <a:p>
                      <a:pPr algn="ctr" fontAlgn="ctr"/>
                      <a:r>
                        <a:rPr lang="vi-VN" sz="1100" u="none" strike="noStrike">
                          <a:solidFill>
                            <a:schemeClr val="tx1"/>
                          </a:solidFill>
                          <a:effectLst/>
                          <a:latin typeface="+mj-lt"/>
                        </a:rPr>
                        <a:t> </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     + Xây dựng</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6,50</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7,00</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7,00</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42027972"/>
                  </a:ext>
                </a:extLst>
              </a:tr>
              <a:tr h="185995">
                <a:tc>
                  <a:txBody>
                    <a:bodyPr/>
                    <a:lstStyle/>
                    <a:p>
                      <a:pPr algn="ctr" fontAlgn="ctr"/>
                      <a:r>
                        <a:rPr lang="vi-VN" sz="1100" u="none" strike="noStrike">
                          <a:solidFill>
                            <a:schemeClr val="tx1"/>
                          </a:solidFill>
                          <a:effectLst/>
                          <a:latin typeface="+mj-lt"/>
                        </a:rPr>
                        <a:t>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 Dịch vụ</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6,00</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6,50</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solidFill>
                            <a:schemeClr val="tx1"/>
                          </a:solidFill>
                          <a:effectLst/>
                          <a:latin typeface="+mj-lt"/>
                        </a:rPr>
                        <a:t>6,50</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7410250"/>
                  </a:ext>
                </a:extLst>
              </a:tr>
              <a:tr h="200918">
                <a:tc>
                  <a:txBody>
                    <a:bodyPr/>
                    <a:lstStyle/>
                    <a:p>
                      <a:pPr algn="ctr" fontAlgn="ctr"/>
                      <a:r>
                        <a:rPr lang="vi-VN" sz="1100" u="none" strike="noStrike">
                          <a:solidFill>
                            <a:schemeClr val="tx1"/>
                          </a:solidFill>
                          <a:effectLst/>
                          <a:latin typeface="+mj-lt"/>
                        </a:rPr>
                        <a:t>3</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Kim ngạch xuất khẩu </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Triệu USD</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72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72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06264921"/>
                  </a:ext>
                </a:extLst>
              </a:tr>
              <a:tr h="371990">
                <a:tc>
                  <a:txBody>
                    <a:bodyPr/>
                    <a:lstStyle/>
                    <a:p>
                      <a:pPr algn="ctr" fontAlgn="ctr"/>
                      <a:r>
                        <a:rPr lang="vi-VN" sz="1100" u="none" strike="noStrike">
                          <a:solidFill>
                            <a:srgbClr val="FF0000"/>
                          </a:solidFill>
                          <a:effectLst/>
                          <a:latin typeface="+mj-lt"/>
                        </a:rPr>
                        <a:t>4</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rgbClr val="FF0000"/>
                          </a:solidFill>
                          <a:effectLst/>
                          <a:latin typeface="+mj-lt"/>
                        </a:rPr>
                        <a:t>Tổng thu ngân sách trên địa bàn</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Triệu đồng</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989.050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1.140.000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15573433"/>
                  </a:ext>
                </a:extLst>
              </a:tr>
              <a:tr h="185995">
                <a:tc>
                  <a:txBody>
                    <a:bodyPr/>
                    <a:lstStyle/>
                    <a:p>
                      <a:pPr algn="ctr" fontAlgn="ctr"/>
                      <a:r>
                        <a:rPr lang="vi-VN" sz="1100" u="none" strike="noStrike">
                          <a:solidFill>
                            <a:schemeClr val="tx1"/>
                          </a:solidFill>
                          <a:effectLst/>
                          <a:latin typeface="+mj-lt"/>
                        </a:rPr>
                        <a:t> </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 Thu tiền sử dụng đất</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Triệu đồng</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600.000 </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750.000 </a:t>
                      </a:r>
                      <a:endParaRPr lang="vi-VN" sz="1100" b="0" i="1"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59503920"/>
                  </a:ext>
                </a:extLst>
              </a:tr>
              <a:tr h="371990">
                <a:tc>
                  <a:txBody>
                    <a:bodyPr/>
                    <a:lstStyle/>
                    <a:p>
                      <a:pPr algn="ctr" fontAlgn="ctr"/>
                      <a:r>
                        <a:rPr lang="vi-VN" sz="1100" u="none" strike="noStrike">
                          <a:solidFill>
                            <a:schemeClr val="tx1"/>
                          </a:solidFill>
                          <a:effectLst/>
                          <a:latin typeface="+mj-lt"/>
                        </a:rPr>
                        <a:t>5</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Doanh thu bán lẻ hàng hóa và dịch vụ</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Tỷ đồng</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12.054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12.054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32728271"/>
                  </a:ext>
                </a:extLst>
              </a:tr>
              <a:tr h="185995">
                <a:tc>
                  <a:txBody>
                    <a:bodyPr/>
                    <a:lstStyle/>
                    <a:p>
                      <a:pPr algn="ctr" fontAlgn="ctr"/>
                      <a:r>
                        <a:rPr lang="vi-VN" sz="1100" u="none" strike="noStrike">
                          <a:solidFill>
                            <a:schemeClr val="tx1"/>
                          </a:solidFill>
                          <a:effectLst/>
                          <a:latin typeface="+mj-lt"/>
                        </a:rPr>
                        <a:t>6</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Tỷ lệ dân số tham gia bảo hiểm y tế</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95,15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95,15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4455186"/>
                  </a:ext>
                </a:extLst>
              </a:tr>
              <a:tr h="185995">
                <a:tc>
                  <a:txBody>
                    <a:bodyPr/>
                    <a:lstStyle/>
                    <a:p>
                      <a:pPr algn="ctr" fontAlgn="ctr"/>
                      <a:r>
                        <a:rPr lang="vi-VN" sz="1100" u="none" strike="noStrike">
                          <a:solidFill>
                            <a:schemeClr val="tx1"/>
                          </a:solidFill>
                          <a:effectLst/>
                          <a:latin typeface="+mj-lt"/>
                        </a:rPr>
                        <a:t>7</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Tỷ lệ trẻ em dưới 5 tuổi suy dinh dưỡng thể nhẹ cân </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7,30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7,30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6787391"/>
                  </a:ext>
                </a:extLst>
              </a:tr>
              <a:tr h="185995">
                <a:tc>
                  <a:txBody>
                    <a:bodyPr/>
                    <a:lstStyle/>
                    <a:p>
                      <a:pPr algn="ctr" fontAlgn="ctr"/>
                      <a:r>
                        <a:rPr lang="vi-VN" sz="1100" u="none" strike="noStrike">
                          <a:solidFill>
                            <a:schemeClr val="tx1"/>
                          </a:solidFill>
                          <a:effectLst/>
                          <a:latin typeface="+mj-lt"/>
                        </a:rPr>
                        <a:t>8</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Giảm tỷ lệ nghèo đa chiều</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1,80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1,80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74502249"/>
                  </a:ext>
                </a:extLst>
              </a:tr>
              <a:tr h="185995">
                <a:tc>
                  <a:txBody>
                    <a:bodyPr/>
                    <a:lstStyle/>
                    <a:p>
                      <a:pPr algn="ctr" fontAlgn="ctr"/>
                      <a:r>
                        <a:rPr lang="vi-VN" sz="1100" u="none" strike="noStrike">
                          <a:solidFill>
                            <a:schemeClr val="tx1"/>
                          </a:solidFill>
                          <a:effectLst/>
                          <a:latin typeface="+mj-lt"/>
                        </a:rPr>
                        <a:t>9</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Bảo hiểm xã hội tự nguyện</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Người</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1.295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1.295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29816123"/>
                  </a:ext>
                </a:extLst>
              </a:tr>
              <a:tr h="185995">
                <a:tc>
                  <a:txBody>
                    <a:bodyPr/>
                    <a:lstStyle/>
                    <a:p>
                      <a:pPr algn="ctr" fontAlgn="ctr"/>
                      <a:r>
                        <a:rPr lang="vi-VN" sz="1100" u="none" strike="noStrike">
                          <a:solidFill>
                            <a:schemeClr val="tx1"/>
                          </a:solidFill>
                          <a:effectLst/>
                          <a:latin typeface="+mj-lt"/>
                        </a:rPr>
                        <a:t>10</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Tạo việc làm mới</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Người</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2.000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2.000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55772639"/>
                  </a:ext>
                </a:extLst>
              </a:tr>
              <a:tr h="185995">
                <a:tc>
                  <a:txBody>
                    <a:bodyPr/>
                    <a:lstStyle/>
                    <a:p>
                      <a:pPr algn="ctr" fontAlgn="ctr"/>
                      <a:r>
                        <a:rPr lang="vi-VN" sz="1100" u="none" strike="noStrike">
                          <a:solidFill>
                            <a:srgbClr val="FF0000"/>
                          </a:solidFill>
                          <a:effectLst/>
                          <a:latin typeface="+mj-lt"/>
                        </a:rPr>
                        <a:t>11</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rgbClr val="FF0000"/>
                          </a:solidFill>
                          <a:effectLst/>
                          <a:latin typeface="+mj-lt"/>
                        </a:rPr>
                        <a:t>Đào tạo nghề lao động nông thôn</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Người</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566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716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11664771"/>
                  </a:ext>
                </a:extLst>
              </a:tr>
              <a:tr h="185995">
                <a:tc>
                  <a:txBody>
                    <a:bodyPr/>
                    <a:lstStyle/>
                    <a:p>
                      <a:pPr algn="ctr" fontAlgn="ctr"/>
                      <a:r>
                        <a:rPr lang="vi-VN" sz="1100" u="none" strike="noStrike">
                          <a:solidFill>
                            <a:schemeClr val="tx1"/>
                          </a:solidFill>
                          <a:effectLst/>
                          <a:latin typeface="+mj-lt"/>
                        </a:rPr>
                        <a:t>12</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chemeClr val="tx1"/>
                          </a:solidFill>
                          <a:effectLst/>
                          <a:latin typeface="+mj-lt"/>
                        </a:rPr>
                        <a:t>Tỷ lệ che phủ rừng</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a:t>
                      </a:r>
                      <a:endParaRPr lang="vi-VN" sz="1100" b="1"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25,95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chemeClr val="tx1"/>
                          </a:solidFill>
                          <a:effectLst/>
                          <a:latin typeface="+mj-lt"/>
                        </a:rPr>
                        <a:t>               25,95 </a:t>
                      </a:r>
                      <a:endParaRPr lang="vi-VN" sz="1100" b="0" i="0" u="none" strike="noStrike">
                        <a:solidFill>
                          <a:schemeClr val="tx1"/>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24136093"/>
                  </a:ext>
                </a:extLst>
              </a:tr>
              <a:tr h="185995">
                <a:tc>
                  <a:txBody>
                    <a:bodyPr/>
                    <a:lstStyle/>
                    <a:p>
                      <a:pPr algn="ctr" fontAlgn="ctr"/>
                      <a:r>
                        <a:rPr lang="vi-VN" sz="1100" u="none" strike="noStrike">
                          <a:solidFill>
                            <a:srgbClr val="FF0000"/>
                          </a:solidFill>
                          <a:effectLst/>
                          <a:latin typeface="+mj-lt"/>
                        </a:rPr>
                        <a:t>13</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rgbClr val="FF0000"/>
                          </a:solidFill>
                          <a:effectLst/>
                          <a:latin typeface="+mj-lt"/>
                        </a:rPr>
                        <a:t>Tỷ lệ dân cư đô thị sử dụng nước sạch</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78,67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90,00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47293511"/>
                  </a:ext>
                </a:extLst>
              </a:tr>
              <a:tr h="371990">
                <a:tc>
                  <a:txBody>
                    <a:bodyPr/>
                    <a:lstStyle/>
                    <a:p>
                      <a:pPr algn="ctr" fontAlgn="ctr"/>
                      <a:r>
                        <a:rPr lang="vi-VN" sz="1100" u="none" strike="noStrike">
                          <a:solidFill>
                            <a:srgbClr val="FF0000"/>
                          </a:solidFill>
                          <a:effectLst/>
                          <a:latin typeface="+mj-lt"/>
                        </a:rPr>
                        <a:t>14</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rgbClr val="FF0000"/>
                          </a:solidFill>
                          <a:effectLst/>
                          <a:latin typeface="+mj-lt"/>
                        </a:rPr>
                        <a:t>Tỷ lệ chất thải rắn ở đô thị được thu gom</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88,00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100,00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01310387"/>
                  </a:ext>
                </a:extLst>
              </a:tr>
            </a:tbl>
          </a:graphicData>
        </a:graphic>
      </p:graphicFrame>
    </p:spTree>
    <p:extLst>
      <p:ext uri="{BB962C8B-B14F-4D97-AF65-F5344CB8AC3E}">
        <p14:creationId xmlns:p14="http://schemas.microsoft.com/office/powerpoint/2010/main" val="18947818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255270" y="163101"/>
            <a:ext cx="11681460"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rPr>
              <a:t>VỀ GIAO CH</a:t>
            </a:r>
            <a:r>
              <a:rPr lang="en-US" sz="2600" b="1">
                <a:solidFill>
                  <a:srgbClr val="040206"/>
                </a:solidFill>
                <a:latin typeface="Times New Roman" panose="02020603050405020304" pitchFamily="18" charset="0"/>
                <a:cs typeface="Times New Roman" panose="02020603050405020304" pitchFamily="18" charset="0"/>
              </a:rPr>
              <a:t>Ỉ TIÊU KẾ HOẠCH NĂM 2023</a:t>
            </a:r>
            <a:endPar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2" name="Table 1">
            <a:extLst>
              <a:ext uri="{FF2B5EF4-FFF2-40B4-BE49-F238E27FC236}">
                <a16:creationId xmlns:a16="http://schemas.microsoft.com/office/drawing/2014/main" id="{FBFFDBCD-49A2-B604-F9E9-B81E95DF4EB5}"/>
              </a:ext>
            </a:extLst>
          </p:cNvPr>
          <p:cNvGraphicFramePr>
            <a:graphicFrameLocks noGrp="1"/>
          </p:cNvGraphicFramePr>
          <p:nvPr>
            <p:extLst>
              <p:ext uri="{D42A27DB-BD31-4B8C-83A1-F6EECF244321}">
                <p14:modId xmlns:p14="http://schemas.microsoft.com/office/powerpoint/2010/main" val="1672616152"/>
              </p:ext>
            </p:extLst>
          </p:nvPr>
        </p:nvGraphicFramePr>
        <p:xfrm>
          <a:off x="7322785" y="936091"/>
          <a:ext cx="4672668" cy="4267200"/>
        </p:xfrm>
        <a:graphic>
          <a:graphicData uri="http://schemas.openxmlformats.org/drawingml/2006/table">
            <a:tbl>
              <a:tblPr firstRow="1" bandRow="1"/>
              <a:tblGrid>
                <a:gridCol w="4672668">
                  <a:extLst>
                    <a:ext uri="{9D8B030D-6E8A-4147-A177-3AD203B41FA5}">
                      <a16:colId xmlns:a16="http://schemas.microsoft.com/office/drawing/2014/main" val="3655493598"/>
                    </a:ext>
                  </a:extLst>
                </a:gridCol>
              </a:tblGrid>
              <a:tr h="292239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1" kern="1200">
                          <a:solidFill>
                            <a:schemeClr val="dk1"/>
                          </a:solidFill>
                          <a:effectLst/>
                          <a:latin typeface="Times New Roman" panose="02020603050405020304" pitchFamily="18" charset="0"/>
                          <a:ea typeface="+mn-ea"/>
                          <a:cs typeface="Times New Roman" panose="02020603050405020304" pitchFamily="18" charset="0"/>
                        </a:rPr>
                        <a:t> Hoài Nhơn: </a:t>
                      </a:r>
                      <a:r>
                        <a:rPr lang="en-US" sz="2400" b="0" kern="1200">
                          <a:solidFill>
                            <a:schemeClr val="dk1"/>
                          </a:solidFill>
                          <a:effectLst/>
                          <a:latin typeface="Times New Roman" panose="02020603050405020304" pitchFamily="18" charset="0"/>
                          <a:ea typeface="+mn-ea"/>
                          <a:cs typeface="Times New Roman" panose="02020603050405020304" pitchFamily="18" charset="0"/>
                        </a:rPr>
                        <a:t>Giao 3/14 chỉ tiêu cao hơn (Tạo việc làm mới, Bảo hiểm y tế và Thu ngân sách), 11/14 chỉ tiêu giao bằng UBND tỉnh thông báo.</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Đã giao chi tiết đến từng địa phương, trong đó có các chỉ tiêu kinh tế đã giao theo tháng, quý, năm cho các địa phương. Các chỉ tiêu xã hội theo năm cho từng địa phương</a:t>
                      </a: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5" name="Table 4">
            <a:extLst>
              <a:ext uri="{FF2B5EF4-FFF2-40B4-BE49-F238E27FC236}">
                <a16:creationId xmlns:a16="http://schemas.microsoft.com/office/drawing/2014/main" id="{92D7994C-159C-9702-DD9E-D007026D48D5}"/>
              </a:ext>
            </a:extLst>
          </p:cNvPr>
          <p:cNvGraphicFramePr>
            <a:graphicFrameLocks noGrp="1"/>
          </p:cNvGraphicFramePr>
          <p:nvPr>
            <p:extLst>
              <p:ext uri="{D42A27DB-BD31-4B8C-83A1-F6EECF244321}">
                <p14:modId xmlns:p14="http://schemas.microsoft.com/office/powerpoint/2010/main" val="754953291"/>
              </p:ext>
            </p:extLst>
          </p:nvPr>
        </p:nvGraphicFramePr>
        <p:xfrm>
          <a:off x="405468" y="802557"/>
          <a:ext cx="6774704" cy="5818656"/>
        </p:xfrm>
        <a:graphic>
          <a:graphicData uri="http://schemas.openxmlformats.org/drawingml/2006/table">
            <a:tbl>
              <a:tblPr>
                <a:tableStyleId>{5C22544A-7EE6-4342-B048-85BDC9FD1C3A}</a:tableStyleId>
              </a:tblPr>
              <a:tblGrid>
                <a:gridCol w="388317">
                  <a:extLst>
                    <a:ext uri="{9D8B030D-6E8A-4147-A177-3AD203B41FA5}">
                      <a16:colId xmlns:a16="http://schemas.microsoft.com/office/drawing/2014/main" val="2322746934"/>
                    </a:ext>
                  </a:extLst>
                </a:gridCol>
                <a:gridCol w="3079604">
                  <a:extLst>
                    <a:ext uri="{9D8B030D-6E8A-4147-A177-3AD203B41FA5}">
                      <a16:colId xmlns:a16="http://schemas.microsoft.com/office/drawing/2014/main" val="1261218476"/>
                    </a:ext>
                  </a:extLst>
                </a:gridCol>
                <a:gridCol w="906677">
                  <a:extLst>
                    <a:ext uri="{9D8B030D-6E8A-4147-A177-3AD203B41FA5}">
                      <a16:colId xmlns:a16="http://schemas.microsoft.com/office/drawing/2014/main" val="1105515428"/>
                    </a:ext>
                  </a:extLst>
                </a:gridCol>
                <a:gridCol w="651583">
                  <a:extLst>
                    <a:ext uri="{9D8B030D-6E8A-4147-A177-3AD203B41FA5}">
                      <a16:colId xmlns:a16="http://schemas.microsoft.com/office/drawing/2014/main" val="3103745592"/>
                    </a:ext>
                  </a:extLst>
                </a:gridCol>
                <a:gridCol w="122858">
                  <a:extLst>
                    <a:ext uri="{9D8B030D-6E8A-4147-A177-3AD203B41FA5}">
                      <a16:colId xmlns:a16="http://schemas.microsoft.com/office/drawing/2014/main" val="3451437721"/>
                    </a:ext>
                  </a:extLst>
                </a:gridCol>
                <a:gridCol w="658164">
                  <a:extLst>
                    <a:ext uri="{9D8B030D-6E8A-4147-A177-3AD203B41FA5}">
                      <a16:colId xmlns:a16="http://schemas.microsoft.com/office/drawing/2014/main" val="3202749571"/>
                    </a:ext>
                  </a:extLst>
                </a:gridCol>
                <a:gridCol w="967501">
                  <a:extLst>
                    <a:ext uri="{9D8B030D-6E8A-4147-A177-3AD203B41FA5}">
                      <a16:colId xmlns:a16="http://schemas.microsoft.com/office/drawing/2014/main" val="1278874256"/>
                    </a:ext>
                  </a:extLst>
                </a:gridCol>
              </a:tblGrid>
              <a:tr h="214504">
                <a:tc>
                  <a:txBody>
                    <a:bodyPr/>
                    <a:lstStyle/>
                    <a:p>
                      <a:pPr algn="ctr" fontAlgn="ctr"/>
                      <a:r>
                        <a:rPr lang="vi-VN" sz="1100" u="none" strike="noStrike">
                          <a:effectLst/>
                          <a:latin typeface="+mj-lt"/>
                        </a:rPr>
                        <a:t>ST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Chỉ tiêu</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Đơn vị tính</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vi-VN" sz="1100" u="none" strike="noStrike">
                          <a:effectLst/>
                          <a:latin typeface="+mj-lt"/>
                        </a:rPr>
                        <a:t>Kế hoạch 2023 tỉnh giao</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a:txBody>
                    <a:bodyPr/>
                    <a:lstStyle/>
                    <a:p>
                      <a:pPr algn="ctr" fontAlgn="ctr"/>
                      <a:r>
                        <a:rPr lang="vi-VN" sz="1100" u="none" strike="noStrike">
                          <a:effectLst/>
                          <a:latin typeface="+mj-lt"/>
                        </a:rPr>
                        <a:t>Địa phương giao</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4845424"/>
                  </a:ext>
                </a:extLst>
              </a:tr>
              <a:tr h="214504">
                <a:tc>
                  <a:txBody>
                    <a:bodyPr/>
                    <a:lstStyle/>
                    <a:p>
                      <a:pPr algn="ctr" fontAlgn="ctr"/>
                      <a:r>
                        <a:rPr lang="vi-VN" sz="1100" u="none" strike="noStrike">
                          <a:effectLst/>
                          <a:latin typeface="+mj-lt"/>
                        </a:rPr>
                        <a:t>1</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Tổng giá trị sản phẩm (giá so sánh)</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16.421.277</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16.449.802</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16.449.802</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36644429"/>
                  </a:ext>
                </a:extLst>
              </a:tr>
              <a:tr h="214504">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Nông, lâm, thuỷ sản</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5.316.30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5.326.623</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5.326.623</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00529636"/>
                  </a:ext>
                </a:extLst>
              </a:tr>
              <a:tr h="214504">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Công nghiệp và xây dự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6.595.136</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6.604.986</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6.604.986</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17217127"/>
                  </a:ext>
                </a:extLst>
              </a:tr>
              <a:tr h="214504">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 Công nghiệp</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4.477.338</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4.477.338</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4.477.338</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09475378"/>
                  </a:ext>
                </a:extLst>
              </a:tr>
              <a:tr h="214504">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 Xây dự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2.117.798</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2.127.648</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2.127.648</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9814238"/>
                  </a:ext>
                </a:extLst>
              </a:tr>
              <a:tr h="214504">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Dịch vụ</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4.509.841</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4.518.193</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4.518.193</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73053593"/>
                  </a:ext>
                </a:extLst>
              </a:tr>
              <a:tr h="214504">
                <a:tc>
                  <a:txBody>
                    <a:bodyPr/>
                    <a:lstStyle/>
                    <a:p>
                      <a:pPr algn="ctr" fontAlgn="ctr"/>
                      <a:r>
                        <a:rPr lang="vi-VN" sz="1100" u="none" strike="noStrike">
                          <a:effectLst/>
                          <a:latin typeface="+mj-lt"/>
                        </a:rPr>
                        <a:t>2</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Tốc độ tăng giá trị sản phẩm</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7,04</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7,23</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7,23</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96006289"/>
                  </a:ext>
                </a:extLst>
              </a:tr>
              <a:tr h="214504">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Nông, lâm, thuỷ sản</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3,0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3,2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3,2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03469551"/>
                  </a:ext>
                </a:extLst>
              </a:tr>
              <a:tr h="214504">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Công nghiệp và xây dự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9,85</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10,02</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10,02</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55661957"/>
                  </a:ext>
                </a:extLst>
              </a:tr>
              <a:tr h="214504">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 Công nghiệp</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11,00</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11,00</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11,00</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2760874"/>
                  </a:ext>
                </a:extLst>
              </a:tr>
              <a:tr h="214504">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 Xây dự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7,50</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8,00</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8,00</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1914648"/>
                  </a:ext>
                </a:extLst>
              </a:tr>
              <a:tr h="214504">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Dịch vụ</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8,0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8,2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8,2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7474250"/>
                  </a:ext>
                </a:extLst>
              </a:tr>
              <a:tr h="214504">
                <a:tc>
                  <a:txBody>
                    <a:bodyPr/>
                    <a:lstStyle/>
                    <a:p>
                      <a:pPr algn="ctr" fontAlgn="ctr"/>
                      <a:r>
                        <a:rPr lang="vi-VN" sz="1100" u="none" strike="noStrike">
                          <a:effectLst/>
                          <a:latin typeface="+mj-lt"/>
                        </a:rPr>
                        <a:t>3</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Kim ngạch xuất khẩu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USD</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206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206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104596"/>
                  </a:ext>
                </a:extLst>
              </a:tr>
              <a:tr h="214504">
                <a:tc>
                  <a:txBody>
                    <a:bodyPr/>
                    <a:lstStyle/>
                    <a:p>
                      <a:pPr algn="ctr" fontAlgn="ctr"/>
                      <a:r>
                        <a:rPr lang="vi-VN" sz="1100" u="none" strike="noStrike">
                          <a:solidFill>
                            <a:srgbClr val="FF0000"/>
                          </a:solidFill>
                          <a:effectLst/>
                          <a:latin typeface="+mj-lt"/>
                        </a:rPr>
                        <a:t>4</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rgbClr val="FF0000"/>
                          </a:solidFill>
                          <a:effectLst/>
                          <a:latin typeface="+mj-lt"/>
                        </a:rPr>
                        <a:t>Tổng thu ngân sách trên địa bàn</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Triệu đồng</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694.990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719.990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1006743"/>
                  </a:ext>
                </a:extLst>
              </a:tr>
              <a:tr h="214504">
                <a:tc>
                  <a:txBody>
                    <a:bodyPr/>
                    <a:lstStyle/>
                    <a:p>
                      <a:pPr algn="ctr" fontAlgn="ctr"/>
                      <a:r>
                        <a:rPr lang="vi-VN" sz="1100" u="none" strike="noStrike">
                          <a:effectLst/>
                          <a:latin typeface="+mj-lt"/>
                        </a:rPr>
                        <a:t>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Thu tiền sử dụng đấ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425.000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450.000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30575595"/>
                  </a:ext>
                </a:extLst>
              </a:tr>
              <a:tr h="239695">
                <a:tc>
                  <a:txBody>
                    <a:bodyPr/>
                    <a:lstStyle/>
                    <a:p>
                      <a:pPr algn="ctr" fontAlgn="ctr"/>
                      <a:r>
                        <a:rPr lang="vi-VN" sz="1100" u="none" strike="noStrike">
                          <a:effectLst/>
                          <a:latin typeface="+mj-lt"/>
                        </a:rPr>
                        <a:t>5</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Doanh thu bán lẻ hàng hóa và dịch vụ</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ỷ đồ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10.28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10.28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30615586"/>
                  </a:ext>
                </a:extLst>
              </a:tr>
              <a:tr h="214504">
                <a:tc>
                  <a:txBody>
                    <a:bodyPr/>
                    <a:lstStyle/>
                    <a:p>
                      <a:pPr algn="ctr" fontAlgn="ctr"/>
                      <a:r>
                        <a:rPr lang="vi-VN" sz="1100" u="none" strike="noStrike">
                          <a:solidFill>
                            <a:srgbClr val="FF0000"/>
                          </a:solidFill>
                          <a:effectLst/>
                          <a:latin typeface="+mj-lt"/>
                        </a:rPr>
                        <a:t>6</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rgbClr val="FF0000"/>
                          </a:solidFill>
                          <a:effectLst/>
                          <a:latin typeface="+mj-lt"/>
                        </a:rPr>
                        <a:t>Tỷ lệ dân số tham gia bảo hiểm y tế</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95,94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96,59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24195471"/>
                  </a:ext>
                </a:extLst>
              </a:tr>
              <a:tr h="214504">
                <a:tc>
                  <a:txBody>
                    <a:bodyPr/>
                    <a:lstStyle/>
                    <a:p>
                      <a:pPr algn="ctr" fontAlgn="ctr"/>
                      <a:r>
                        <a:rPr lang="vi-VN" sz="1100" u="none" strike="noStrike">
                          <a:effectLst/>
                          <a:latin typeface="+mj-lt"/>
                        </a:rPr>
                        <a:t>7</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Tỷ lệ trẻ em dưới 5 tuổi suy dinh dưỡng thể nhẹ cân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7,25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7,25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47455927"/>
                  </a:ext>
                </a:extLst>
              </a:tr>
              <a:tr h="214504">
                <a:tc>
                  <a:txBody>
                    <a:bodyPr/>
                    <a:lstStyle/>
                    <a:p>
                      <a:pPr algn="ctr" fontAlgn="ctr"/>
                      <a:r>
                        <a:rPr lang="vi-VN" sz="1100" u="none" strike="noStrike">
                          <a:effectLst/>
                          <a:latin typeface="+mj-lt"/>
                        </a:rPr>
                        <a:t>8</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Giảm tỷ lệ nghèo đa chiều</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1,07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1,07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03185291"/>
                  </a:ext>
                </a:extLst>
              </a:tr>
              <a:tr h="214504">
                <a:tc>
                  <a:txBody>
                    <a:bodyPr/>
                    <a:lstStyle/>
                    <a:p>
                      <a:pPr algn="ctr" fontAlgn="ctr"/>
                      <a:r>
                        <a:rPr lang="vi-VN" sz="1100" u="none" strike="noStrike">
                          <a:effectLst/>
                          <a:latin typeface="+mj-lt"/>
                        </a:rPr>
                        <a:t>9</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Bảo hiểm xã hội tự nguyện</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Người</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2.606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2.606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24816392"/>
                  </a:ext>
                </a:extLst>
              </a:tr>
              <a:tr h="214504">
                <a:tc>
                  <a:txBody>
                    <a:bodyPr/>
                    <a:lstStyle/>
                    <a:p>
                      <a:pPr algn="ctr" fontAlgn="ctr"/>
                      <a:r>
                        <a:rPr lang="vi-VN" sz="1100" u="none" strike="noStrike">
                          <a:solidFill>
                            <a:srgbClr val="FF0000"/>
                          </a:solidFill>
                          <a:effectLst/>
                          <a:latin typeface="+mj-lt"/>
                        </a:rPr>
                        <a:t>10</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rgbClr val="FF0000"/>
                          </a:solidFill>
                          <a:effectLst/>
                          <a:latin typeface="+mj-lt"/>
                        </a:rPr>
                        <a:t>Tạo việc làm mới</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Người</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5.900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6.000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2329373"/>
                  </a:ext>
                </a:extLst>
              </a:tr>
              <a:tr h="214504">
                <a:tc>
                  <a:txBody>
                    <a:bodyPr/>
                    <a:lstStyle/>
                    <a:p>
                      <a:pPr algn="ctr" fontAlgn="ctr"/>
                      <a:r>
                        <a:rPr lang="vi-VN" sz="1100" u="none" strike="noStrike">
                          <a:effectLst/>
                          <a:latin typeface="+mj-lt"/>
                        </a:rPr>
                        <a:t>11</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Đào tạo nghề lao động nông thôn</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Người</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21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21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22693966"/>
                  </a:ext>
                </a:extLst>
              </a:tr>
              <a:tr h="214504">
                <a:tc>
                  <a:txBody>
                    <a:bodyPr/>
                    <a:lstStyle/>
                    <a:p>
                      <a:pPr algn="ctr" fontAlgn="ctr"/>
                      <a:r>
                        <a:rPr lang="vi-VN" sz="1100" u="none" strike="noStrike">
                          <a:effectLst/>
                          <a:latin typeface="+mj-lt"/>
                        </a:rPr>
                        <a:t>12</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Tỷ lệ che phủ rừng</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49,82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49,82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79348184"/>
                  </a:ext>
                </a:extLst>
              </a:tr>
              <a:tr h="214504">
                <a:tc>
                  <a:txBody>
                    <a:bodyPr/>
                    <a:lstStyle/>
                    <a:p>
                      <a:pPr algn="ctr" fontAlgn="ctr"/>
                      <a:r>
                        <a:rPr lang="vi-VN" sz="1100" u="none" strike="noStrike">
                          <a:effectLst/>
                          <a:latin typeface="+mj-lt"/>
                        </a:rPr>
                        <a:t>13</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Tỷ lệ dân cư đô thị sử dụng nước sạch</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69,02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69,02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88280068"/>
                  </a:ext>
                </a:extLst>
              </a:tr>
              <a:tr h="214504">
                <a:tc>
                  <a:txBody>
                    <a:bodyPr/>
                    <a:lstStyle/>
                    <a:p>
                      <a:pPr algn="ctr" fontAlgn="ctr"/>
                      <a:r>
                        <a:rPr lang="vi-VN" sz="1100" u="none" strike="noStrike">
                          <a:effectLst/>
                          <a:latin typeface="+mj-lt"/>
                        </a:rPr>
                        <a:t>14</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Tỷ lệ chất thải rắn ở đô thị được thu gom</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72,0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72,0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0329390"/>
                  </a:ext>
                </a:extLst>
              </a:tr>
            </a:tbl>
          </a:graphicData>
        </a:graphic>
      </p:graphicFrame>
    </p:spTree>
    <p:extLst>
      <p:ext uri="{BB962C8B-B14F-4D97-AF65-F5344CB8AC3E}">
        <p14:creationId xmlns:p14="http://schemas.microsoft.com/office/powerpoint/2010/main" val="230190171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125730" y="380702"/>
            <a:ext cx="11681460"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rPr>
              <a:t>VỀ GIAO CH</a:t>
            </a:r>
            <a:r>
              <a:rPr lang="en-US" sz="2600" b="1">
                <a:solidFill>
                  <a:srgbClr val="040206"/>
                </a:solidFill>
                <a:latin typeface="Times New Roman" panose="02020603050405020304" pitchFamily="18" charset="0"/>
                <a:cs typeface="Times New Roman" panose="02020603050405020304" pitchFamily="18" charset="0"/>
              </a:rPr>
              <a:t>Ỉ TIÊU KẾ HOẠCH NĂM 2023</a:t>
            </a:r>
            <a:endPar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2" name="Table 1">
            <a:extLst>
              <a:ext uri="{FF2B5EF4-FFF2-40B4-BE49-F238E27FC236}">
                <a16:creationId xmlns:a16="http://schemas.microsoft.com/office/drawing/2014/main" id="{FBFFDBCD-49A2-B604-F9E9-B81E95DF4EB5}"/>
              </a:ext>
            </a:extLst>
          </p:cNvPr>
          <p:cNvGraphicFramePr>
            <a:graphicFrameLocks noGrp="1"/>
          </p:cNvGraphicFramePr>
          <p:nvPr>
            <p:extLst>
              <p:ext uri="{D42A27DB-BD31-4B8C-83A1-F6EECF244321}">
                <p14:modId xmlns:p14="http://schemas.microsoft.com/office/powerpoint/2010/main" val="918926962"/>
              </p:ext>
            </p:extLst>
          </p:nvPr>
        </p:nvGraphicFramePr>
        <p:xfrm>
          <a:off x="6973890" y="1023457"/>
          <a:ext cx="5092381" cy="4135772"/>
        </p:xfrm>
        <a:graphic>
          <a:graphicData uri="http://schemas.openxmlformats.org/drawingml/2006/table">
            <a:tbl>
              <a:tblPr firstRow="1" bandRow="1"/>
              <a:tblGrid>
                <a:gridCol w="5092381">
                  <a:extLst>
                    <a:ext uri="{9D8B030D-6E8A-4147-A177-3AD203B41FA5}">
                      <a16:colId xmlns:a16="http://schemas.microsoft.com/office/drawing/2014/main" val="3655493598"/>
                    </a:ext>
                  </a:extLst>
                </a:gridCol>
              </a:tblGrid>
              <a:tr h="413577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1" kern="1200">
                          <a:solidFill>
                            <a:schemeClr val="dk1"/>
                          </a:solidFill>
                          <a:effectLst/>
                          <a:latin typeface="Times New Roman" panose="02020603050405020304" pitchFamily="18" charset="0"/>
                          <a:ea typeface="+mn-ea"/>
                          <a:cs typeface="Times New Roman" panose="02020603050405020304" pitchFamily="18" charset="0"/>
                        </a:rPr>
                        <a:t> Tuy Phước: </a:t>
                      </a:r>
                      <a:r>
                        <a:rPr lang="en-US" sz="2000" b="0" kern="1200">
                          <a:solidFill>
                            <a:schemeClr val="dk1"/>
                          </a:solidFill>
                          <a:effectLst/>
                          <a:latin typeface="Times New Roman" panose="02020603050405020304" pitchFamily="18" charset="0"/>
                          <a:ea typeface="+mn-ea"/>
                          <a:cs typeface="Times New Roman" panose="02020603050405020304" pitchFamily="18" charset="0"/>
                        </a:rPr>
                        <a:t>4/13 chỉ tiêu thấp hơn tỉnh giao (Kim ngạch xuất khẩu 66/68 triệu USD, Giảm tỷ lệ hộ nghèo đa chiều 1/1.72%, Tạo việc làm mới 1.900/3.500 người và Tỷ lệ đô thị sử dụng nước sạch 87,44/87,49%), 9/13 chỉ tiêu giao bằng UBND tỉnh thông báo.</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Đã giao chi tiết đến từng địa phương và đã phân rã cho từng tháng, quý, năm. Sở Kế hoạch và Đầu tư đã trao đổi với huyện về những chỉ tiêu giao thấp, huyện sẽ báo cáo HĐND huyện và tiến hành điều chỉnh</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3" name="Table 2">
            <a:extLst>
              <a:ext uri="{FF2B5EF4-FFF2-40B4-BE49-F238E27FC236}">
                <a16:creationId xmlns:a16="http://schemas.microsoft.com/office/drawing/2014/main" id="{46BC0D04-5C78-8ECD-463E-08080CB32353}"/>
              </a:ext>
            </a:extLst>
          </p:cNvPr>
          <p:cNvGraphicFramePr>
            <a:graphicFrameLocks noGrp="1"/>
          </p:cNvGraphicFramePr>
          <p:nvPr>
            <p:extLst>
              <p:ext uri="{D42A27DB-BD31-4B8C-83A1-F6EECF244321}">
                <p14:modId xmlns:p14="http://schemas.microsoft.com/office/powerpoint/2010/main" val="389849673"/>
              </p:ext>
            </p:extLst>
          </p:nvPr>
        </p:nvGraphicFramePr>
        <p:xfrm>
          <a:off x="420149" y="1023457"/>
          <a:ext cx="6553741" cy="5561907"/>
        </p:xfrm>
        <a:graphic>
          <a:graphicData uri="http://schemas.openxmlformats.org/drawingml/2006/table">
            <a:tbl>
              <a:tblPr>
                <a:tableStyleId>{5C22544A-7EE6-4342-B048-85BDC9FD1C3A}</a:tableStyleId>
              </a:tblPr>
              <a:tblGrid>
                <a:gridCol w="381207">
                  <a:extLst>
                    <a:ext uri="{9D8B030D-6E8A-4147-A177-3AD203B41FA5}">
                      <a16:colId xmlns:a16="http://schemas.microsoft.com/office/drawing/2014/main" val="3734120391"/>
                    </a:ext>
                  </a:extLst>
                </a:gridCol>
                <a:gridCol w="3135802">
                  <a:extLst>
                    <a:ext uri="{9D8B030D-6E8A-4147-A177-3AD203B41FA5}">
                      <a16:colId xmlns:a16="http://schemas.microsoft.com/office/drawing/2014/main" val="1140000605"/>
                    </a:ext>
                  </a:extLst>
                </a:gridCol>
                <a:gridCol w="766721">
                  <a:extLst>
                    <a:ext uri="{9D8B030D-6E8A-4147-A177-3AD203B41FA5}">
                      <a16:colId xmlns:a16="http://schemas.microsoft.com/office/drawing/2014/main" val="3530709344"/>
                    </a:ext>
                  </a:extLst>
                </a:gridCol>
                <a:gridCol w="639652">
                  <a:extLst>
                    <a:ext uri="{9D8B030D-6E8A-4147-A177-3AD203B41FA5}">
                      <a16:colId xmlns:a16="http://schemas.microsoft.com/office/drawing/2014/main" val="1359601987"/>
                    </a:ext>
                  </a:extLst>
                </a:gridCol>
                <a:gridCol w="137838">
                  <a:extLst>
                    <a:ext uri="{9D8B030D-6E8A-4147-A177-3AD203B41FA5}">
                      <a16:colId xmlns:a16="http://schemas.microsoft.com/office/drawing/2014/main" val="2003855169"/>
                    </a:ext>
                  </a:extLst>
                </a:gridCol>
                <a:gridCol w="639652">
                  <a:extLst>
                    <a:ext uri="{9D8B030D-6E8A-4147-A177-3AD203B41FA5}">
                      <a16:colId xmlns:a16="http://schemas.microsoft.com/office/drawing/2014/main" val="1658108525"/>
                    </a:ext>
                  </a:extLst>
                </a:gridCol>
                <a:gridCol w="852869">
                  <a:extLst>
                    <a:ext uri="{9D8B030D-6E8A-4147-A177-3AD203B41FA5}">
                      <a16:colId xmlns:a16="http://schemas.microsoft.com/office/drawing/2014/main" val="742237809"/>
                    </a:ext>
                  </a:extLst>
                </a:gridCol>
              </a:tblGrid>
              <a:tr h="382520">
                <a:tc>
                  <a:txBody>
                    <a:bodyPr/>
                    <a:lstStyle/>
                    <a:p>
                      <a:pPr algn="ctr" fontAlgn="ctr"/>
                      <a:r>
                        <a:rPr lang="vi-VN" sz="1100" u="none" strike="noStrike">
                          <a:effectLst/>
                          <a:latin typeface="+mj-lt"/>
                        </a:rPr>
                        <a:t>ST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Chỉ tiêu</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Đơn vị tính</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vi-VN" sz="1100" u="none" strike="noStrike">
                          <a:effectLst/>
                          <a:latin typeface="+mj-lt"/>
                        </a:rPr>
                        <a:t>Kế hoạch 2023 tỉnh giao</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a:txBody>
                    <a:bodyPr/>
                    <a:lstStyle/>
                    <a:p>
                      <a:pPr algn="ctr" fontAlgn="ctr"/>
                      <a:r>
                        <a:rPr lang="vi-VN" sz="1100" u="none" strike="noStrike">
                          <a:effectLst/>
                          <a:latin typeface="+mj-lt"/>
                        </a:rPr>
                        <a:t>Địa phương giao</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09055171"/>
                  </a:ext>
                </a:extLst>
              </a:tr>
              <a:tr h="191261">
                <a:tc>
                  <a:txBody>
                    <a:bodyPr/>
                    <a:lstStyle/>
                    <a:p>
                      <a:pPr algn="ctr" fontAlgn="ctr"/>
                      <a:r>
                        <a:rPr lang="vi-VN" sz="1100" u="none" strike="noStrike">
                          <a:effectLst/>
                          <a:latin typeface="+mj-lt"/>
                        </a:rPr>
                        <a:t>1</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Tổng giá trị sản phẩm (giá so sánh)</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11.923.367</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11.969.825</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11.969.825</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9903901"/>
                  </a:ext>
                </a:extLst>
              </a:tr>
              <a:tr h="191261">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Nông, lâm, thuỷ sản</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2.584.205</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2.586.71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2.586.71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95981622"/>
                  </a:ext>
                </a:extLst>
              </a:tr>
              <a:tr h="191261">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Công nghiệp và xây dự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6.133.298</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6.162.34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6.162.34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669023"/>
                  </a:ext>
                </a:extLst>
              </a:tr>
              <a:tr h="191261">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 Công nghiệp</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4.952.038</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4.975.508</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4.975.508</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5499521"/>
                  </a:ext>
                </a:extLst>
              </a:tr>
              <a:tr h="191261">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 Xây dự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1.181.260</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1.186.832</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1.186.832</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21871000"/>
                  </a:ext>
                </a:extLst>
              </a:tr>
              <a:tr h="191261">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Dịch vụ</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3.205.864</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3.220.775</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3.220.775</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47445731"/>
                  </a:ext>
                </a:extLst>
              </a:tr>
              <a:tr h="191261">
                <a:tc>
                  <a:txBody>
                    <a:bodyPr/>
                    <a:lstStyle/>
                    <a:p>
                      <a:pPr algn="ctr" fontAlgn="ctr"/>
                      <a:r>
                        <a:rPr lang="vi-VN" sz="1100" u="none" strike="noStrike">
                          <a:effectLst/>
                          <a:latin typeface="+mj-lt"/>
                        </a:rPr>
                        <a:t>2</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Tốc độ tăng giá trị sản phẩm</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5,57</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5,98</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5,98</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8378333"/>
                  </a:ext>
                </a:extLst>
              </a:tr>
              <a:tr h="191261">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Nông, lâm, thuỷ sản</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3,2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3,3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3,3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96540229"/>
                  </a:ext>
                </a:extLst>
              </a:tr>
              <a:tr h="191261">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Công nghiệp và xây dự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5,6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6,1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6,1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08543790"/>
                  </a:ext>
                </a:extLst>
              </a:tr>
              <a:tr h="191261">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 Công nghiệp</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5,50</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6,00</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6,00</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2492274"/>
                  </a:ext>
                </a:extLst>
              </a:tr>
              <a:tr h="191261">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 Xây dự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6,00</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6,50</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6,50</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3424315"/>
                  </a:ext>
                </a:extLst>
              </a:tr>
              <a:tr h="191261">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Dịch vụ</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7,5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8,0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100" u="none" strike="noStrike">
                          <a:effectLst/>
                          <a:latin typeface="+mj-lt"/>
                        </a:rPr>
                        <a:t>8,00</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62439116"/>
                  </a:ext>
                </a:extLst>
              </a:tr>
              <a:tr h="206605">
                <a:tc>
                  <a:txBody>
                    <a:bodyPr/>
                    <a:lstStyle/>
                    <a:p>
                      <a:pPr algn="ctr" fontAlgn="ctr"/>
                      <a:r>
                        <a:rPr lang="vi-VN" sz="1100" u="none" strike="noStrike">
                          <a:solidFill>
                            <a:srgbClr val="FF0000"/>
                          </a:solidFill>
                          <a:effectLst/>
                          <a:latin typeface="+mj-lt"/>
                        </a:rPr>
                        <a:t>3</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rgbClr val="FF0000"/>
                          </a:solidFill>
                          <a:effectLst/>
                          <a:latin typeface="+mj-lt"/>
                        </a:rPr>
                        <a:t>Kim ngạch xuất khẩu </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Triệu USD</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68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66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7149758"/>
                  </a:ext>
                </a:extLst>
              </a:tr>
              <a:tr h="382520">
                <a:tc>
                  <a:txBody>
                    <a:bodyPr/>
                    <a:lstStyle/>
                    <a:p>
                      <a:pPr algn="ctr" fontAlgn="ctr"/>
                      <a:r>
                        <a:rPr lang="vi-VN" sz="1100" u="none" strike="noStrike">
                          <a:effectLst/>
                          <a:latin typeface="+mj-lt"/>
                        </a:rPr>
                        <a:t>4</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Tổng thu ngân sách trên địa bàn</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515.34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515.34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502563"/>
                  </a:ext>
                </a:extLst>
              </a:tr>
              <a:tr h="191261">
                <a:tc>
                  <a:txBody>
                    <a:bodyPr/>
                    <a:lstStyle/>
                    <a:p>
                      <a:pPr algn="ctr" fontAlgn="ctr"/>
                      <a:r>
                        <a:rPr lang="vi-VN" sz="1100" u="none" strike="noStrike">
                          <a:effectLst/>
                          <a:latin typeface="+mj-lt"/>
                        </a:rPr>
                        <a:t>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 Thu tiền sử dụng đất</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riệu đồng</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300.000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300.000 </a:t>
                      </a:r>
                      <a:endParaRPr lang="vi-VN" sz="11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97042536"/>
                  </a:ext>
                </a:extLst>
              </a:tr>
              <a:tr h="382520">
                <a:tc>
                  <a:txBody>
                    <a:bodyPr/>
                    <a:lstStyle/>
                    <a:p>
                      <a:pPr algn="ctr" fontAlgn="ctr"/>
                      <a:r>
                        <a:rPr lang="vi-VN" sz="1100" u="none" strike="noStrike">
                          <a:effectLst/>
                          <a:latin typeface="+mj-lt"/>
                        </a:rPr>
                        <a:t>5</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Doanh thu bán lẻ hàng hóa và dịch vụ</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Tỷ đồng</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10.536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10.536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60519388"/>
                  </a:ext>
                </a:extLst>
              </a:tr>
              <a:tr h="191261">
                <a:tc>
                  <a:txBody>
                    <a:bodyPr/>
                    <a:lstStyle/>
                    <a:p>
                      <a:pPr algn="ctr" fontAlgn="ctr"/>
                      <a:r>
                        <a:rPr lang="vi-VN" sz="1100" u="none" strike="noStrike">
                          <a:effectLst/>
                          <a:latin typeface="+mj-lt"/>
                        </a:rPr>
                        <a:t>6</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Tỷ lệ dân số tham gia bảo hiểm y tế</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94,73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94,73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29313554"/>
                  </a:ext>
                </a:extLst>
              </a:tr>
              <a:tr h="191261">
                <a:tc>
                  <a:txBody>
                    <a:bodyPr/>
                    <a:lstStyle/>
                    <a:p>
                      <a:pPr algn="ctr" fontAlgn="ctr"/>
                      <a:r>
                        <a:rPr lang="vi-VN" sz="1100" u="none" strike="noStrike">
                          <a:effectLst/>
                          <a:latin typeface="+mj-lt"/>
                        </a:rPr>
                        <a:t>7</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Tỷ lệ trẻ em dưới 5 tuổi suy dinh dưỡng thể nhẹ cân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7,31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7,31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61465021"/>
                  </a:ext>
                </a:extLst>
              </a:tr>
              <a:tr h="191261">
                <a:tc>
                  <a:txBody>
                    <a:bodyPr/>
                    <a:lstStyle/>
                    <a:p>
                      <a:pPr algn="ctr" fontAlgn="ctr"/>
                      <a:r>
                        <a:rPr lang="vi-VN" sz="1100" u="none" strike="noStrike">
                          <a:solidFill>
                            <a:srgbClr val="FF0000"/>
                          </a:solidFill>
                          <a:effectLst/>
                          <a:latin typeface="+mj-lt"/>
                        </a:rPr>
                        <a:t>8</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rgbClr val="FF0000"/>
                          </a:solidFill>
                          <a:effectLst/>
                          <a:latin typeface="+mj-lt"/>
                        </a:rPr>
                        <a:t>Giảm tỷ lệ nghèo đa chiều</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1,72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1,00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1079289"/>
                  </a:ext>
                </a:extLst>
              </a:tr>
              <a:tr h="191261">
                <a:tc>
                  <a:txBody>
                    <a:bodyPr/>
                    <a:lstStyle/>
                    <a:p>
                      <a:pPr algn="ctr" fontAlgn="ctr"/>
                      <a:r>
                        <a:rPr lang="vi-VN" sz="1100" u="none" strike="noStrike">
                          <a:effectLst/>
                          <a:latin typeface="+mj-lt"/>
                        </a:rPr>
                        <a:t>9</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Bảo hiểm xã hội tự nguyện</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Người</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1.62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1.62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50404572"/>
                  </a:ext>
                </a:extLst>
              </a:tr>
              <a:tr h="191261">
                <a:tc>
                  <a:txBody>
                    <a:bodyPr/>
                    <a:lstStyle/>
                    <a:p>
                      <a:pPr algn="ctr" fontAlgn="ctr"/>
                      <a:r>
                        <a:rPr lang="vi-VN" sz="1100" u="none" strike="noStrike">
                          <a:solidFill>
                            <a:srgbClr val="FF0000"/>
                          </a:solidFill>
                          <a:effectLst/>
                          <a:latin typeface="+mj-lt"/>
                        </a:rPr>
                        <a:t>10</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rgbClr val="FF0000"/>
                          </a:solidFill>
                          <a:effectLst/>
                          <a:latin typeface="+mj-lt"/>
                        </a:rPr>
                        <a:t>Tạo việc làm mới</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Người</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3.500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1.900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02716746"/>
                  </a:ext>
                </a:extLst>
              </a:tr>
              <a:tr h="191261">
                <a:tc>
                  <a:txBody>
                    <a:bodyPr/>
                    <a:lstStyle/>
                    <a:p>
                      <a:pPr algn="ctr" fontAlgn="ctr"/>
                      <a:r>
                        <a:rPr lang="vi-VN" sz="1100" u="none" strike="noStrike">
                          <a:effectLst/>
                          <a:latin typeface="+mj-lt"/>
                        </a:rPr>
                        <a:t>11</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Đào tạo nghề lao động nông thôn</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Người</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35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35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3563378"/>
                  </a:ext>
                </a:extLst>
              </a:tr>
              <a:tr h="191261">
                <a:tc>
                  <a:txBody>
                    <a:bodyPr/>
                    <a:lstStyle/>
                    <a:p>
                      <a:pPr algn="ctr" fontAlgn="ctr"/>
                      <a:r>
                        <a:rPr lang="vi-VN" sz="1100" u="none" strike="noStrike">
                          <a:effectLst/>
                          <a:latin typeface="+mj-lt"/>
                        </a:rPr>
                        <a:t>12</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Tỷ lệ che phủ rừng</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13,1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13,1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75638222"/>
                  </a:ext>
                </a:extLst>
              </a:tr>
              <a:tr h="191261">
                <a:tc>
                  <a:txBody>
                    <a:bodyPr/>
                    <a:lstStyle/>
                    <a:p>
                      <a:pPr algn="ctr" fontAlgn="ctr"/>
                      <a:r>
                        <a:rPr lang="vi-VN" sz="1100" u="none" strike="noStrike">
                          <a:solidFill>
                            <a:srgbClr val="FF0000"/>
                          </a:solidFill>
                          <a:effectLst/>
                          <a:latin typeface="+mj-lt"/>
                        </a:rPr>
                        <a:t>13</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solidFill>
                            <a:srgbClr val="FF0000"/>
                          </a:solidFill>
                          <a:effectLst/>
                          <a:latin typeface="+mj-lt"/>
                        </a:rPr>
                        <a:t>Tỷ lệ dân cư đô thị sử dụng nước sạch</a:t>
                      </a:r>
                      <a:endParaRPr lang="vi-VN" sz="11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87,49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solidFill>
                            <a:srgbClr val="FF0000"/>
                          </a:solidFill>
                          <a:effectLst/>
                          <a:latin typeface="+mj-lt"/>
                        </a:rPr>
                        <a:t>               87,44 </a:t>
                      </a:r>
                      <a:endParaRPr lang="vi-VN" sz="11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56876299"/>
                  </a:ext>
                </a:extLst>
              </a:tr>
              <a:tr h="191261">
                <a:tc>
                  <a:txBody>
                    <a:bodyPr/>
                    <a:lstStyle/>
                    <a:p>
                      <a:pPr algn="ctr" fontAlgn="ctr"/>
                      <a:r>
                        <a:rPr lang="vi-VN" sz="1100" u="none" strike="noStrike">
                          <a:effectLst/>
                          <a:latin typeface="+mj-lt"/>
                        </a:rPr>
                        <a:t>14</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mj-lt"/>
                        </a:rPr>
                        <a:t>Tỷ lệ chất thải rắn ở đô thị được thu gom</a:t>
                      </a:r>
                      <a:endParaRPr lang="vi-VN" sz="11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72,0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mj-lt"/>
                        </a:rPr>
                        <a:t>               72,00 </a:t>
                      </a:r>
                      <a:endParaRPr lang="vi-VN" sz="11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37118652"/>
                  </a:ext>
                </a:extLst>
              </a:tr>
            </a:tbl>
          </a:graphicData>
        </a:graphic>
      </p:graphicFrame>
    </p:spTree>
    <p:extLst>
      <p:ext uri="{BB962C8B-B14F-4D97-AF65-F5344CB8AC3E}">
        <p14:creationId xmlns:p14="http://schemas.microsoft.com/office/powerpoint/2010/main" val="273178074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255270" y="232785"/>
            <a:ext cx="11681460"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rPr>
              <a:t>VỀ GIAO CH</a:t>
            </a:r>
            <a:r>
              <a:rPr lang="en-US" sz="2600" b="1">
                <a:solidFill>
                  <a:srgbClr val="040206"/>
                </a:solidFill>
                <a:latin typeface="Times New Roman" panose="02020603050405020304" pitchFamily="18" charset="0"/>
                <a:cs typeface="Times New Roman" panose="02020603050405020304" pitchFamily="18" charset="0"/>
              </a:rPr>
              <a:t>Ỉ TIÊU KẾ HOẠCH NĂM 2023</a:t>
            </a:r>
            <a:endPar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2" name="Table 1">
            <a:extLst>
              <a:ext uri="{FF2B5EF4-FFF2-40B4-BE49-F238E27FC236}">
                <a16:creationId xmlns:a16="http://schemas.microsoft.com/office/drawing/2014/main" id="{FBFFDBCD-49A2-B604-F9E9-B81E95DF4EB5}"/>
              </a:ext>
            </a:extLst>
          </p:cNvPr>
          <p:cNvGraphicFramePr>
            <a:graphicFrameLocks noGrp="1"/>
          </p:cNvGraphicFramePr>
          <p:nvPr>
            <p:extLst>
              <p:ext uri="{D42A27DB-BD31-4B8C-83A1-F6EECF244321}">
                <p14:modId xmlns:p14="http://schemas.microsoft.com/office/powerpoint/2010/main" val="1109912713"/>
              </p:ext>
            </p:extLst>
          </p:nvPr>
        </p:nvGraphicFramePr>
        <p:xfrm>
          <a:off x="7827947" y="873145"/>
          <a:ext cx="4029417" cy="4206240"/>
        </p:xfrm>
        <a:graphic>
          <a:graphicData uri="http://schemas.openxmlformats.org/drawingml/2006/table">
            <a:tbl>
              <a:tblPr firstRow="1" bandRow="1"/>
              <a:tblGrid>
                <a:gridCol w="4029417">
                  <a:extLst>
                    <a:ext uri="{9D8B030D-6E8A-4147-A177-3AD203B41FA5}">
                      <a16:colId xmlns:a16="http://schemas.microsoft.com/office/drawing/2014/main" val="3655493598"/>
                    </a:ext>
                  </a:extLst>
                </a:gridCol>
              </a:tblGrid>
              <a:tr h="292239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1" kern="1200">
                          <a:solidFill>
                            <a:schemeClr val="dk1"/>
                          </a:solidFill>
                          <a:effectLst/>
                          <a:latin typeface="Times New Roman" panose="02020603050405020304" pitchFamily="18" charset="0"/>
                          <a:ea typeface="+mn-ea"/>
                          <a:cs typeface="Times New Roman" panose="02020603050405020304" pitchFamily="18" charset="0"/>
                        </a:rPr>
                        <a:t>Phù Cát: </a:t>
                      </a:r>
                      <a:r>
                        <a:rPr lang="en-US" sz="2000" b="0" kern="1200">
                          <a:solidFill>
                            <a:schemeClr val="dk1"/>
                          </a:solidFill>
                          <a:effectLst/>
                          <a:latin typeface="Times New Roman" panose="02020603050405020304" pitchFamily="18" charset="0"/>
                          <a:ea typeface="+mn-ea"/>
                          <a:cs typeface="Times New Roman" panose="02020603050405020304" pitchFamily="18" charset="0"/>
                        </a:rPr>
                        <a:t>4/14 chỉ tiêu cao hơn thông báo của UBND tỉnh ( Tổng giá trị sản phẩm; tốc độ tăng TGTSP; tổng thu ngân sách; tỷ lệ dân số tham gia bảo hiểm y tế); 10/14 chỉ tiêu giao bằng với chỉ tiêu UBND tỉnh thông báo.</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Đối với chỉ tiêu Tổng giá trị sản phẩm, huyện đã giao theo quý, các chỉ tiêu còn lại Huyện đã giao đến các địa phương theo năm, chưa giao chi tiết theo quý, tháng cho địa phương</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3" name="Table 2">
            <a:extLst>
              <a:ext uri="{FF2B5EF4-FFF2-40B4-BE49-F238E27FC236}">
                <a16:creationId xmlns:a16="http://schemas.microsoft.com/office/drawing/2014/main" id="{78B08A87-F063-9867-FE22-D971CE6BDB49}"/>
              </a:ext>
            </a:extLst>
          </p:cNvPr>
          <p:cNvGraphicFramePr>
            <a:graphicFrameLocks noGrp="1"/>
          </p:cNvGraphicFramePr>
          <p:nvPr>
            <p:extLst>
              <p:ext uri="{D42A27DB-BD31-4B8C-83A1-F6EECF244321}">
                <p14:modId xmlns:p14="http://schemas.microsoft.com/office/powerpoint/2010/main" val="2621438200"/>
              </p:ext>
            </p:extLst>
          </p:nvPr>
        </p:nvGraphicFramePr>
        <p:xfrm>
          <a:off x="417640" y="873145"/>
          <a:ext cx="7350486" cy="5761033"/>
        </p:xfrm>
        <a:graphic>
          <a:graphicData uri="http://schemas.openxmlformats.org/drawingml/2006/table">
            <a:tbl>
              <a:tblPr>
                <a:tableStyleId>{5C22544A-7EE6-4342-B048-85BDC9FD1C3A}</a:tableStyleId>
              </a:tblPr>
              <a:tblGrid>
                <a:gridCol w="388833">
                  <a:extLst>
                    <a:ext uri="{9D8B030D-6E8A-4147-A177-3AD203B41FA5}">
                      <a16:colId xmlns:a16="http://schemas.microsoft.com/office/drawing/2014/main" val="1877413579"/>
                    </a:ext>
                  </a:extLst>
                </a:gridCol>
                <a:gridCol w="3029817">
                  <a:extLst>
                    <a:ext uri="{9D8B030D-6E8A-4147-A177-3AD203B41FA5}">
                      <a16:colId xmlns:a16="http://schemas.microsoft.com/office/drawing/2014/main" val="3624536021"/>
                    </a:ext>
                  </a:extLst>
                </a:gridCol>
                <a:gridCol w="1040850">
                  <a:extLst>
                    <a:ext uri="{9D8B030D-6E8A-4147-A177-3AD203B41FA5}">
                      <a16:colId xmlns:a16="http://schemas.microsoft.com/office/drawing/2014/main" val="265048053"/>
                    </a:ext>
                  </a:extLst>
                </a:gridCol>
                <a:gridCol w="652449">
                  <a:extLst>
                    <a:ext uri="{9D8B030D-6E8A-4147-A177-3AD203B41FA5}">
                      <a16:colId xmlns:a16="http://schemas.microsoft.com/office/drawing/2014/main" val="2911484972"/>
                    </a:ext>
                  </a:extLst>
                </a:gridCol>
                <a:gridCol w="140595">
                  <a:extLst>
                    <a:ext uri="{9D8B030D-6E8A-4147-A177-3AD203B41FA5}">
                      <a16:colId xmlns:a16="http://schemas.microsoft.com/office/drawing/2014/main" val="3231001212"/>
                    </a:ext>
                  </a:extLst>
                </a:gridCol>
                <a:gridCol w="652449">
                  <a:extLst>
                    <a:ext uri="{9D8B030D-6E8A-4147-A177-3AD203B41FA5}">
                      <a16:colId xmlns:a16="http://schemas.microsoft.com/office/drawing/2014/main" val="4005290668"/>
                    </a:ext>
                  </a:extLst>
                </a:gridCol>
                <a:gridCol w="652449">
                  <a:extLst>
                    <a:ext uri="{9D8B030D-6E8A-4147-A177-3AD203B41FA5}">
                      <a16:colId xmlns:a16="http://schemas.microsoft.com/office/drawing/2014/main" val="3806837497"/>
                    </a:ext>
                  </a:extLst>
                </a:gridCol>
                <a:gridCol w="140595">
                  <a:extLst>
                    <a:ext uri="{9D8B030D-6E8A-4147-A177-3AD203B41FA5}">
                      <a16:colId xmlns:a16="http://schemas.microsoft.com/office/drawing/2014/main" val="3881509182"/>
                    </a:ext>
                  </a:extLst>
                </a:gridCol>
                <a:gridCol w="652449">
                  <a:extLst>
                    <a:ext uri="{9D8B030D-6E8A-4147-A177-3AD203B41FA5}">
                      <a16:colId xmlns:a16="http://schemas.microsoft.com/office/drawing/2014/main" val="3009357077"/>
                    </a:ext>
                  </a:extLst>
                </a:gridCol>
              </a:tblGrid>
              <a:tr h="201634">
                <a:tc>
                  <a:txBody>
                    <a:bodyPr/>
                    <a:lstStyle/>
                    <a:p>
                      <a:pPr algn="ctr" fontAlgn="ctr"/>
                      <a:r>
                        <a:rPr lang="vi-VN" sz="1050" u="none" strike="noStrike">
                          <a:effectLst/>
                          <a:latin typeface="+mj-lt"/>
                        </a:rPr>
                        <a:t>STT</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Chỉ tiêu</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Đơn vị tính</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vi-VN" sz="1050" u="none" strike="noStrike">
                          <a:effectLst/>
                          <a:latin typeface="+mj-lt"/>
                        </a:rPr>
                        <a:t>Kế hoạch 2023 tỉnh giao</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050" u="none" strike="noStrike">
                          <a:effectLst/>
                          <a:latin typeface="+mj-lt"/>
                        </a:rPr>
                        <a:t>Địa phương giao</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2684297646"/>
                  </a:ext>
                </a:extLst>
              </a:tr>
              <a:tr h="220611">
                <a:tc>
                  <a:txBody>
                    <a:bodyPr/>
                    <a:lstStyle/>
                    <a:p>
                      <a:pPr algn="ctr" fontAlgn="ctr"/>
                      <a:r>
                        <a:rPr lang="vi-VN" sz="1050" u="none" strike="noStrike">
                          <a:solidFill>
                            <a:srgbClr val="FF0000"/>
                          </a:solidFill>
                          <a:effectLst/>
                          <a:latin typeface="+mj-lt"/>
                        </a:rPr>
                        <a:t>1</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solidFill>
                            <a:srgbClr val="FF0000"/>
                          </a:solidFill>
                          <a:effectLst/>
                          <a:latin typeface="+mj-lt"/>
                        </a:rPr>
                        <a:t>Tổng giá trị sản phẩm (giá so sánh)</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Triệu đồng</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solidFill>
                            <a:srgbClr val="FF0000"/>
                          </a:solidFill>
                          <a:effectLst/>
                          <a:latin typeface="+mj-lt"/>
                        </a:rPr>
                        <a:t>13.392.885</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solidFill>
                            <a:srgbClr val="FF0000"/>
                          </a:solidFill>
                          <a:effectLst/>
                          <a:latin typeface="+mj-lt"/>
                        </a:rPr>
                        <a:t>13.461.353</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solidFill>
                            <a:srgbClr val="FF0000"/>
                          </a:solidFill>
                          <a:effectLst/>
                          <a:latin typeface="+mj-lt"/>
                        </a:rPr>
                        <a:t>13.396.408</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solidFill>
                            <a:srgbClr val="FF0000"/>
                          </a:solidFill>
                          <a:effectLst/>
                          <a:latin typeface="+mj-lt"/>
                        </a:rPr>
                        <a:t>13.470.542</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052919"/>
                  </a:ext>
                </a:extLst>
              </a:tr>
              <a:tr h="220611">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Nông, lâm, thuỷ sản</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4.936.02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4.959.865</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4.939.012</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4.964.593</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518958"/>
                  </a:ext>
                </a:extLst>
              </a:tr>
              <a:tr h="220611">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Công nghiệp và xây dự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5.539.974</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5.579.244</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5.540.505</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5.583.705</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61400212"/>
                  </a:ext>
                </a:extLst>
              </a:tr>
              <a:tr h="229436">
                <a:tc>
                  <a:txBody>
                    <a:bodyPr/>
                    <a:lstStyle/>
                    <a:p>
                      <a:pPr algn="ctr" fontAlgn="ctr"/>
                      <a:r>
                        <a:rPr lang="vi-VN" sz="1050" u="none" strike="noStrike">
                          <a:effectLst/>
                          <a:latin typeface="+mj-lt"/>
                        </a:rPr>
                        <a:t> </a:t>
                      </a:r>
                      <a:endParaRPr lang="vi-VN" sz="1050" b="1"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 Công nghiệp</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3.965.766</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3.997.748</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3.966.297</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4.002.209</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90221693"/>
                  </a:ext>
                </a:extLst>
              </a:tr>
              <a:tr h="229436">
                <a:tc>
                  <a:txBody>
                    <a:bodyPr/>
                    <a:lstStyle/>
                    <a:p>
                      <a:pPr algn="ctr" fontAlgn="ctr"/>
                      <a:r>
                        <a:rPr lang="vi-VN" sz="1050" u="none" strike="noStrike">
                          <a:effectLst/>
                          <a:latin typeface="+mj-lt"/>
                        </a:rPr>
                        <a:t> </a:t>
                      </a:r>
                      <a:endParaRPr lang="vi-VN" sz="1050" b="1"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 Xây dự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574.208</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581.496</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574.208</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581.496</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55721167"/>
                  </a:ext>
                </a:extLst>
              </a:tr>
              <a:tr h="220611">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Dịch vụ</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916.891</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922.244</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916.891</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2.922.244</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29484579"/>
                  </a:ext>
                </a:extLst>
              </a:tr>
              <a:tr h="220611">
                <a:tc>
                  <a:txBody>
                    <a:bodyPr/>
                    <a:lstStyle/>
                    <a:p>
                      <a:pPr algn="ctr" fontAlgn="ctr"/>
                      <a:r>
                        <a:rPr lang="vi-VN" sz="1050" u="none" strike="noStrike">
                          <a:solidFill>
                            <a:srgbClr val="FF0000"/>
                          </a:solidFill>
                          <a:effectLst/>
                          <a:latin typeface="+mj-lt"/>
                        </a:rPr>
                        <a:t>2</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solidFill>
                            <a:srgbClr val="FF0000"/>
                          </a:solidFill>
                          <a:effectLst/>
                          <a:latin typeface="+mj-lt"/>
                        </a:rPr>
                        <a:t>Tốc độ tăng giá trị sản phẩm</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7,52</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solidFill>
                            <a:srgbClr val="FF0000"/>
                          </a:solidFill>
                          <a:effectLst/>
                          <a:latin typeface="+mj-lt"/>
                        </a:rPr>
                        <a:t>8,07</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7,55</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solidFill>
                            <a:srgbClr val="FF0000"/>
                          </a:solidFill>
                          <a:effectLst/>
                          <a:latin typeface="+mj-lt"/>
                        </a:rPr>
                        <a:t>8,14</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1299321"/>
                  </a:ext>
                </a:extLst>
              </a:tr>
              <a:tr h="220611">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Nông, lâm, thuỷ sản</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3,5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4,0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3,56</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4,1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37778910"/>
                  </a:ext>
                </a:extLst>
              </a:tr>
              <a:tr h="220611">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Công nghiệp và xây dự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10,55</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1,34</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10,56</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1,43</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39415704"/>
                  </a:ext>
                </a:extLst>
              </a:tr>
              <a:tr h="220611">
                <a:tc>
                  <a:txBody>
                    <a:bodyPr/>
                    <a:lstStyle/>
                    <a:p>
                      <a:pPr algn="ctr" fontAlgn="ctr"/>
                      <a:r>
                        <a:rPr lang="vi-VN" sz="1050" u="none" strike="noStrike">
                          <a:effectLst/>
                          <a:latin typeface="+mj-lt"/>
                        </a:rPr>
                        <a:t> </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 Công nghiệp</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11,6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2,5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11,61</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12,63</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2914044"/>
                  </a:ext>
                </a:extLst>
              </a:tr>
              <a:tr h="220611">
                <a:tc>
                  <a:txBody>
                    <a:bodyPr/>
                    <a:lstStyle/>
                    <a:p>
                      <a:pPr algn="ctr" fontAlgn="ctr"/>
                      <a:r>
                        <a:rPr lang="vi-VN" sz="1050" u="none" strike="noStrike">
                          <a:effectLst/>
                          <a:latin typeface="+mj-lt"/>
                        </a:rPr>
                        <a:t> </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 Xây dự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8,0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8,5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8,0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8,50</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83020013"/>
                  </a:ext>
                </a:extLst>
              </a:tr>
              <a:tr h="220611">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Dịch vụ</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9,0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9,2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9,0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50" u="none" strike="noStrike">
                          <a:effectLst/>
                          <a:latin typeface="+mj-lt"/>
                        </a:rPr>
                        <a:t>9,20</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9810131"/>
                  </a:ext>
                </a:extLst>
              </a:tr>
              <a:tr h="247085">
                <a:tc>
                  <a:txBody>
                    <a:bodyPr/>
                    <a:lstStyle/>
                    <a:p>
                      <a:pPr algn="ctr" fontAlgn="ctr"/>
                      <a:r>
                        <a:rPr lang="vi-VN" sz="1050" u="none" strike="noStrike">
                          <a:effectLst/>
                          <a:latin typeface="+mj-lt"/>
                        </a:rPr>
                        <a:t>3</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Kim ngạch xuất khẩu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USD</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128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128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54091925"/>
                  </a:ext>
                </a:extLst>
              </a:tr>
              <a:tr h="220611">
                <a:tc>
                  <a:txBody>
                    <a:bodyPr/>
                    <a:lstStyle/>
                    <a:p>
                      <a:pPr algn="ctr" fontAlgn="ctr"/>
                      <a:r>
                        <a:rPr lang="vi-VN" sz="1050" u="none" strike="noStrike">
                          <a:solidFill>
                            <a:srgbClr val="FF0000"/>
                          </a:solidFill>
                          <a:effectLst/>
                          <a:latin typeface="+mj-lt"/>
                        </a:rPr>
                        <a:t>4</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solidFill>
                            <a:srgbClr val="FF0000"/>
                          </a:solidFill>
                          <a:effectLst/>
                          <a:latin typeface="+mj-lt"/>
                        </a:rPr>
                        <a:t>Tổng thu ngân sách trên địa bàn</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Triệu đồng</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507.210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973.585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71333811"/>
                  </a:ext>
                </a:extLst>
              </a:tr>
              <a:tr h="220611">
                <a:tc>
                  <a:txBody>
                    <a:bodyPr/>
                    <a:lstStyle/>
                    <a:p>
                      <a:pPr algn="ctr" fontAlgn="ctr"/>
                      <a:r>
                        <a:rPr lang="vi-VN" sz="1050" u="none" strike="noStrike">
                          <a:effectLst/>
                          <a:latin typeface="+mj-lt"/>
                        </a:rPr>
                        <a:t> </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 Thu tiền sử dụng đất</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riệu đồng</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300.000 </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300.000 </a:t>
                      </a:r>
                      <a:endParaRPr lang="vi-VN" sz="105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2101797"/>
                  </a:ext>
                </a:extLst>
              </a:tr>
              <a:tr h="220611">
                <a:tc>
                  <a:txBody>
                    <a:bodyPr/>
                    <a:lstStyle/>
                    <a:p>
                      <a:pPr algn="ctr" fontAlgn="ctr"/>
                      <a:r>
                        <a:rPr lang="vi-VN" sz="1050" u="none" strike="noStrike">
                          <a:effectLst/>
                          <a:latin typeface="+mj-lt"/>
                        </a:rPr>
                        <a:t>5</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Doanh thu bán lẻ hàng hóa và dịch vụ</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Tỷ đồng</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5.588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5.588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1119713"/>
                  </a:ext>
                </a:extLst>
              </a:tr>
              <a:tr h="220611">
                <a:tc>
                  <a:txBody>
                    <a:bodyPr/>
                    <a:lstStyle/>
                    <a:p>
                      <a:pPr algn="ctr" fontAlgn="ctr"/>
                      <a:r>
                        <a:rPr lang="vi-VN" sz="1050" u="none" strike="noStrike">
                          <a:solidFill>
                            <a:srgbClr val="FF0000"/>
                          </a:solidFill>
                          <a:effectLst/>
                          <a:latin typeface="+mj-lt"/>
                        </a:rPr>
                        <a:t>6</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solidFill>
                            <a:srgbClr val="FF0000"/>
                          </a:solidFill>
                          <a:effectLst/>
                          <a:latin typeface="+mj-lt"/>
                        </a:rPr>
                        <a:t>Tỷ lệ dân số tham gia bảo hiểm y tế</a:t>
                      </a:r>
                      <a:endParaRPr lang="vi-VN" sz="105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94,33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solidFill>
                            <a:srgbClr val="FF0000"/>
                          </a:solidFill>
                          <a:effectLst/>
                          <a:latin typeface="+mj-lt"/>
                        </a:rPr>
                        <a:t>         94,37 </a:t>
                      </a:r>
                      <a:endParaRPr lang="vi-VN" sz="105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6382382"/>
                  </a:ext>
                </a:extLst>
              </a:tr>
              <a:tr h="220611">
                <a:tc>
                  <a:txBody>
                    <a:bodyPr/>
                    <a:lstStyle/>
                    <a:p>
                      <a:pPr algn="ctr" fontAlgn="ctr"/>
                      <a:r>
                        <a:rPr lang="vi-VN" sz="1050" u="none" strike="noStrike">
                          <a:effectLst/>
                          <a:latin typeface="+mj-lt"/>
                        </a:rPr>
                        <a:t>7</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ỷ lệ trẻ em dưới 5 tuổi suy dinh dưỡng thể nhẹ cân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7,6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7,6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25816867"/>
                  </a:ext>
                </a:extLst>
              </a:tr>
              <a:tr h="220611">
                <a:tc>
                  <a:txBody>
                    <a:bodyPr/>
                    <a:lstStyle/>
                    <a:p>
                      <a:pPr algn="ctr" fontAlgn="ctr"/>
                      <a:r>
                        <a:rPr lang="vi-VN" sz="1050" u="none" strike="noStrike">
                          <a:effectLst/>
                          <a:latin typeface="+mj-lt"/>
                        </a:rPr>
                        <a:t>8</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Giảm tỷ lệ nghèo đa chiều</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1,29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1,29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33916659"/>
                  </a:ext>
                </a:extLst>
              </a:tr>
              <a:tr h="220611">
                <a:tc>
                  <a:txBody>
                    <a:bodyPr/>
                    <a:lstStyle/>
                    <a:p>
                      <a:pPr algn="ctr" fontAlgn="ctr"/>
                      <a:r>
                        <a:rPr lang="vi-VN" sz="1050" u="none" strike="noStrike">
                          <a:effectLst/>
                          <a:latin typeface="+mj-lt"/>
                        </a:rPr>
                        <a:t>9</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Bảo hiểm xã hội tự nguyện</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Người</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1.771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1.771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63171582"/>
                  </a:ext>
                </a:extLst>
              </a:tr>
              <a:tr h="220611">
                <a:tc>
                  <a:txBody>
                    <a:bodyPr/>
                    <a:lstStyle/>
                    <a:p>
                      <a:pPr algn="ctr" fontAlgn="ctr"/>
                      <a:r>
                        <a:rPr lang="vi-VN" sz="1050" u="none" strike="noStrike">
                          <a:effectLst/>
                          <a:latin typeface="+mj-lt"/>
                        </a:rPr>
                        <a:t>10</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ạo việc làm mới</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Người</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2.15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2.15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27941642"/>
                  </a:ext>
                </a:extLst>
              </a:tr>
              <a:tr h="220611">
                <a:tc>
                  <a:txBody>
                    <a:bodyPr/>
                    <a:lstStyle/>
                    <a:p>
                      <a:pPr algn="ctr" fontAlgn="ctr"/>
                      <a:r>
                        <a:rPr lang="vi-VN" sz="1050" u="none" strike="noStrike">
                          <a:effectLst/>
                          <a:latin typeface="+mj-lt"/>
                        </a:rPr>
                        <a:t>11</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Đào tạo nghề lao động nông thôn</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Người</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50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50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2967776"/>
                  </a:ext>
                </a:extLst>
              </a:tr>
              <a:tr h="220611">
                <a:tc>
                  <a:txBody>
                    <a:bodyPr/>
                    <a:lstStyle/>
                    <a:p>
                      <a:pPr algn="ctr" fontAlgn="ctr"/>
                      <a:r>
                        <a:rPr lang="vi-VN" sz="1050" u="none" strike="noStrike">
                          <a:effectLst/>
                          <a:latin typeface="+mj-lt"/>
                        </a:rPr>
                        <a:t>12</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ỷ lệ che phủ rừng</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43,1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43,1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27117477"/>
                  </a:ext>
                </a:extLst>
              </a:tr>
              <a:tr h="220611">
                <a:tc>
                  <a:txBody>
                    <a:bodyPr/>
                    <a:lstStyle/>
                    <a:p>
                      <a:pPr algn="ctr" fontAlgn="ctr"/>
                      <a:r>
                        <a:rPr lang="vi-VN" sz="1050" u="none" strike="noStrike">
                          <a:effectLst/>
                          <a:latin typeface="+mj-lt"/>
                        </a:rPr>
                        <a:t>13</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ỷ lệ dân cư đô thị sử dụng nước sạch</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87,35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87,35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13135620"/>
                  </a:ext>
                </a:extLst>
              </a:tr>
              <a:tr h="220611">
                <a:tc>
                  <a:txBody>
                    <a:bodyPr/>
                    <a:lstStyle/>
                    <a:p>
                      <a:pPr algn="ctr" fontAlgn="ctr"/>
                      <a:r>
                        <a:rPr lang="vi-VN" sz="1050" u="none" strike="noStrike">
                          <a:effectLst/>
                          <a:latin typeface="+mj-lt"/>
                        </a:rPr>
                        <a:t>14</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50" u="none" strike="noStrike">
                          <a:effectLst/>
                          <a:latin typeface="+mj-lt"/>
                        </a:rPr>
                        <a:t>Tỷ lệ chất thải rắn ở đô thị được thu gom</a:t>
                      </a:r>
                      <a:endParaRPr lang="vi-VN" sz="105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70,0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u="none" strike="noStrike">
                          <a:effectLst/>
                          <a:latin typeface="+mj-lt"/>
                        </a:rPr>
                        <a:t>         70,00 </a:t>
                      </a:r>
                      <a:endParaRPr lang="vi-VN" sz="105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90349906"/>
                  </a:ext>
                </a:extLst>
              </a:tr>
            </a:tbl>
          </a:graphicData>
        </a:graphic>
      </p:graphicFrame>
    </p:spTree>
    <p:extLst>
      <p:ext uri="{BB962C8B-B14F-4D97-AF65-F5344CB8AC3E}">
        <p14:creationId xmlns:p14="http://schemas.microsoft.com/office/powerpoint/2010/main" val="343242555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255270" y="232785"/>
            <a:ext cx="11681460"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rPr>
              <a:t>VỀ GIAO CH</a:t>
            </a:r>
            <a:r>
              <a:rPr lang="en-US" sz="2600" b="1">
                <a:solidFill>
                  <a:srgbClr val="040206"/>
                </a:solidFill>
                <a:latin typeface="Times New Roman" panose="02020603050405020304" pitchFamily="18" charset="0"/>
                <a:cs typeface="Times New Roman" panose="02020603050405020304" pitchFamily="18" charset="0"/>
              </a:rPr>
              <a:t>Ỉ TIÊU KẾ HOẠCH NĂM 2023</a:t>
            </a:r>
            <a:endPar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2" name="Table 1">
            <a:extLst>
              <a:ext uri="{FF2B5EF4-FFF2-40B4-BE49-F238E27FC236}">
                <a16:creationId xmlns:a16="http://schemas.microsoft.com/office/drawing/2014/main" id="{FBFFDBCD-49A2-B604-F9E9-B81E95DF4EB5}"/>
              </a:ext>
            </a:extLst>
          </p:cNvPr>
          <p:cNvGraphicFramePr>
            <a:graphicFrameLocks noGrp="1"/>
          </p:cNvGraphicFramePr>
          <p:nvPr>
            <p:extLst>
              <p:ext uri="{D42A27DB-BD31-4B8C-83A1-F6EECF244321}">
                <p14:modId xmlns:p14="http://schemas.microsoft.com/office/powerpoint/2010/main" val="1951315333"/>
              </p:ext>
            </p:extLst>
          </p:nvPr>
        </p:nvGraphicFramePr>
        <p:xfrm>
          <a:off x="7604707" y="873145"/>
          <a:ext cx="4252658" cy="5212080"/>
        </p:xfrm>
        <a:graphic>
          <a:graphicData uri="http://schemas.openxmlformats.org/drawingml/2006/table">
            <a:tbl>
              <a:tblPr firstRow="1" bandRow="1"/>
              <a:tblGrid>
                <a:gridCol w="4252658">
                  <a:extLst>
                    <a:ext uri="{9D8B030D-6E8A-4147-A177-3AD203B41FA5}">
                      <a16:colId xmlns:a16="http://schemas.microsoft.com/office/drawing/2014/main" val="3655493598"/>
                    </a:ext>
                  </a:extLst>
                </a:gridCol>
              </a:tblGrid>
              <a:tr h="292239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1" kern="1200">
                          <a:solidFill>
                            <a:schemeClr val="dk1"/>
                          </a:solidFill>
                          <a:effectLst/>
                          <a:latin typeface="Times New Roman" panose="02020603050405020304" pitchFamily="18" charset="0"/>
                          <a:ea typeface="+mn-ea"/>
                          <a:cs typeface="Times New Roman" panose="02020603050405020304" pitchFamily="18" charset="0"/>
                        </a:rPr>
                        <a:t>Phù Mỹ: </a:t>
                      </a:r>
                      <a:r>
                        <a:rPr lang="en-US" sz="2000" b="0" kern="1200">
                          <a:solidFill>
                            <a:schemeClr val="dk1"/>
                          </a:solidFill>
                          <a:effectLst/>
                          <a:latin typeface="Times New Roman" panose="02020603050405020304" pitchFamily="18" charset="0"/>
                          <a:ea typeface="+mn-ea"/>
                          <a:cs typeface="Times New Roman" panose="02020603050405020304" pitchFamily="18" charset="0"/>
                        </a:rPr>
                        <a:t>7/14 chỉ tiêu huyện giao cao hơn UBND tỉnh thông báo, 7/14 chỉ </a:t>
                      </a:r>
                      <a:r>
                        <a:rPr lang="en-US" sz="2000" b="0" kern="1200">
                          <a:solidFill>
                            <a:schemeClr val="tx1"/>
                          </a:solidFill>
                          <a:effectLst/>
                          <a:latin typeface="Times New Roman" panose="02020603050405020304" pitchFamily="18" charset="0"/>
                          <a:ea typeface="+mn-ea"/>
                          <a:cs typeface="Times New Roman" panose="02020603050405020304" pitchFamily="18" charset="0"/>
                        </a:rPr>
                        <a:t>tiêu giao bằng chỉ tiêu UBND tỉnh thông báo</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tx1"/>
                          </a:solidFill>
                          <a:effectLst/>
                          <a:latin typeface="Times New Roman" panose="02020603050405020304" pitchFamily="18" charset="0"/>
                          <a:ea typeface="+mn-ea"/>
                          <a:cs typeface="Times New Roman" panose="02020603050405020304" pitchFamily="18" charset="0"/>
                        </a:rPr>
                        <a:t> Đã giao chi tiết đến từng địa phương. Trong đó,</a:t>
                      </a:r>
                      <a:r>
                        <a:rPr lang="en-US" sz="2000" b="0" kern="1200" baseline="0">
                          <a:solidFill>
                            <a:schemeClr val="tx1"/>
                          </a:solidFill>
                          <a:effectLst/>
                          <a:latin typeface="Times New Roman" panose="02020603050405020304" pitchFamily="18" charset="0"/>
                          <a:ea typeface="+mn-ea"/>
                          <a:cs typeface="Times New Roman" panose="02020603050405020304" pitchFamily="18" charset="0"/>
                        </a:rPr>
                        <a:t> chỉ tiêu thu ngân sách, </a:t>
                      </a:r>
                      <a:r>
                        <a:rPr lang="en-US" sz="2000" b="0" kern="1200">
                          <a:solidFill>
                            <a:schemeClr val="tx1"/>
                          </a:solidFill>
                          <a:effectLst/>
                          <a:latin typeface="Times New Roman" panose="02020603050405020304" pitchFamily="18" charset="0"/>
                          <a:ea typeface="+mn-ea"/>
                          <a:cs typeface="Times New Roman" panose="02020603050405020304" pitchFamily="18" charset="0"/>
                        </a:rPr>
                        <a:t>doanh thu bán</a:t>
                      </a:r>
                      <a:r>
                        <a:rPr lang="en-US" sz="2000" b="0" kern="1200" baseline="0">
                          <a:solidFill>
                            <a:schemeClr val="tx1"/>
                          </a:solidFill>
                          <a:effectLst/>
                          <a:latin typeface="Times New Roman" panose="02020603050405020304" pitchFamily="18" charset="0"/>
                          <a:ea typeface="+mn-ea"/>
                          <a:cs typeface="Times New Roman" panose="02020603050405020304" pitchFamily="18" charset="0"/>
                        </a:rPr>
                        <a:t> lẻ hàng hóa và dịch vụ  </a:t>
                      </a:r>
                      <a:r>
                        <a:rPr lang="en-US" sz="2000" b="0" kern="1200">
                          <a:solidFill>
                            <a:schemeClr val="tx1"/>
                          </a:solidFill>
                          <a:effectLst/>
                          <a:latin typeface="Times New Roman" panose="02020603050405020304" pitchFamily="18" charset="0"/>
                          <a:ea typeface="+mn-ea"/>
                          <a:cs typeface="Times New Roman" panose="02020603050405020304" pitchFamily="18" charset="0"/>
                        </a:rPr>
                        <a:t>giao theo từng tháng; các</a:t>
                      </a:r>
                      <a:r>
                        <a:rPr lang="en-US" sz="2000" b="0" kern="1200" baseline="0">
                          <a:solidFill>
                            <a:schemeClr val="tx1"/>
                          </a:solidFill>
                          <a:effectLst/>
                          <a:latin typeface="Times New Roman" panose="02020603050405020304" pitchFamily="18" charset="0"/>
                          <a:ea typeface="+mn-ea"/>
                          <a:cs typeface="Times New Roman" panose="02020603050405020304" pitchFamily="18" charset="0"/>
                        </a:rPr>
                        <a:t> chỉ tiêu còn lại giao theo quý và năm</a:t>
                      </a:r>
                      <a:r>
                        <a:rPr lang="en-US" sz="2000" b="0" kern="1200">
                          <a:solidFill>
                            <a:schemeClr val="tx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tx1"/>
                          </a:solidFill>
                          <a:effectLst/>
                          <a:latin typeface="Times New Roman" panose="02020603050405020304" pitchFamily="18" charset="0"/>
                          <a:ea typeface="+mn-ea"/>
                          <a:cs typeface="Times New Roman" panose="02020603050405020304" pitchFamily="18" charset="0"/>
                        </a:rPr>
                        <a:t> Ngoài ra huyện đã giao chi tiết 08 chỉ tiêu (cây trồng, vật nuôi, lâm nghiệp, thủy sản, công nghiệp - xây dựng, thương mại, thu ngân sách và an sinh xã hội) đến cấp xã</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6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3" name="Table 2">
            <a:extLst>
              <a:ext uri="{FF2B5EF4-FFF2-40B4-BE49-F238E27FC236}">
                <a16:creationId xmlns:a16="http://schemas.microsoft.com/office/drawing/2014/main" id="{666DF257-4A6B-21D1-58A7-3CC0A50693CF}"/>
              </a:ext>
            </a:extLst>
          </p:cNvPr>
          <p:cNvGraphicFramePr>
            <a:graphicFrameLocks noGrp="1"/>
          </p:cNvGraphicFramePr>
          <p:nvPr>
            <p:extLst>
              <p:ext uri="{D42A27DB-BD31-4B8C-83A1-F6EECF244321}">
                <p14:modId xmlns:p14="http://schemas.microsoft.com/office/powerpoint/2010/main" val="1020236826"/>
              </p:ext>
            </p:extLst>
          </p:nvPr>
        </p:nvGraphicFramePr>
        <p:xfrm>
          <a:off x="167318" y="951292"/>
          <a:ext cx="7270072" cy="5493126"/>
        </p:xfrm>
        <a:graphic>
          <a:graphicData uri="http://schemas.openxmlformats.org/drawingml/2006/table">
            <a:tbl>
              <a:tblPr>
                <a:tableStyleId>{5C22544A-7EE6-4342-B048-85BDC9FD1C3A}</a:tableStyleId>
              </a:tblPr>
              <a:tblGrid>
                <a:gridCol w="394362">
                  <a:extLst>
                    <a:ext uri="{9D8B030D-6E8A-4147-A177-3AD203B41FA5}">
                      <a16:colId xmlns:a16="http://schemas.microsoft.com/office/drawing/2014/main" val="1889543696"/>
                    </a:ext>
                  </a:extLst>
                </a:gridCol>
                <a:gridCol w="3071216">
                  <a:extLst>
                    <a:ext uri="{9D8B030D-6E8A-4147-A177-3AD203B41FA5}">
                      <a16:colId xmlns:a16="http://schemas.microsoft.com/office/drawing/2014/main" val="2361523895"/>
                    </a:ext>
                  </a:extLst>
                </a:gridCol>
                <a:gridCol w="939243">
                  <a:extLst>
                    <a:ext uri="{9D8B030D-6E8A-4147-A177-3AD203B41FA5}">
                      <a16:colId xmlns:a16="http://schemas.microsoft.com/office/drawing/2014/main" val="1208921244"/>
                    </a:ext>
                  </a:extLst>
                </a:gridCol>
                <a:gridCol w="661726">
                  <a:extLst>
                    <a:ext uri="{9D8B030D-6E8A-4147-A177-3AD203B41FA5}">
                      <a16:colId xmlns:a16="http://schemas.microsoft.com/office/drawing/2014/main" val="2805315787"/>
                    </a:ext>
                  </a:extLst>
                </a:gridCol>
                <a:gridCol w="142594">
                  <a:extLst>
                    <a:ext uri="{9D8B030D-6E8A-4147-A177-3AD203B41FA5}">
                      <a16:colId xmlns:a16="http://schemas.microsoft.com/office/drawing/2014/main" val="921166873"/>
                    </a:ext>
                  </a:extLst>
                </a:gridCol>
                <a:gridCol w="661726">
                  <a:extLst>
                    <a:ext uri="{9D8B030D-6E8A-4147-A177-3AD203B41FA5}">
                      <a16:colId xmlns:a16="http://schemas.microsoft.com/office/drawing/2014/main" val="1122241914"/>
                    </a:ext>
                  </a:extLst>
                </a:gridCol>
                <a:gridCol w="1399205">
                  <a:extLst>
                    <a:ext uri="{9D8B030D-6E8A-4147-A177-3AD203B41FA5}">
                      <a16:colId xmlns:a16="http://schemas.microsoft.com/office/drawing/2014/main" val="2834821059"/>
                    </a:ext>
                  </a:extLst>
                </a:gridCol>
              </a:tblGrid>
              <a:tr h="192278">
                <a:tc>
                  <a:txBody>
                    <a:bodyPr/>
                    <a:lstStyle/>
                    <a:p>
                      <a:pPr algn="ctr" fontAlgn="ctr"/>
                      <a:r>
                        <a:rPr lang="vi-VN" sz="1000" u="none" strike="noStrike">
                          <a:effectLst/>
                          <a:latin typeface="+mj-lt"/>
                        </a:rPr>
                        <a:t>STT</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Chỉ tiêu</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Đơn vị tính</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vi-VN" sz="1000" u="none" strike="noStrike">
                          <a:effectLst/>
                          <a:latin typeface="+mj-lt"/>
                        </a:rPr>
                        <a:t>Kế hoạch 2023 tỉnh giao</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a:txBody>
                    <a:bodyPr/>
                    <a:lstStyle/>
                    <a:p>
                      <a:pPr algn="ctr" fontAlgn="ctr"/>
                      <a:r>
                        <a:rPr lang="vi-VN" sz="1000" u="none" strike="noStrike">
                          <a:effectLst/>
                          <a:latin typeface="+mj-lt"/>
                        </a:rPr>
                        <a:t>Địa phương giao</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9025057"/>
                  </a:ext>
                </a:extLst>
              </a:tr>
              <a:tr h="211021">
                <a:tc>
                  <a:txBody>
                    <a:bodyPr/>
                    <a:lstStyle/>
                    <a:p>
                      <a:pPr algn="ctr" fontAlgn="ctr"/>
                      <a:r>
                        <a:rPr lang="vi-VN" sz="1000" u="none" strike="noStrike">
                          <a:solidFill>
                            <a:srgbClr val="FF0000"/>
                          </a:solidFill>
                          <a:effectLst/>
                          <a:latin typeface="+mj-lt"/>
                        </a:rPr>
                        <a:t>1</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solidFill>
                            <a:srgbClr val="FF0000"/>
                          </a:solidFill>
                          <a:effectLst/>
                          <a:latin typeface="+mj-lt"/>
                        </a:rPr>
                        <a:t>Tổng giá trị sản phẩm (giá so sánh)</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Triệu đồng</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solidFill>
                            <a:srgbClr val="FF0000"/>
                          </a:solidFill>
                          <a:effectLst/>
                          <a:latin typeface="+mj-lt"/>
                        </a:rPr>
                        <a:t>11.968.284</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solidFill>
                            <a:srgbClr val="FF0000"/>
                          </a:solidFill>
                          <a:effectLst/>
                          <a:latin typeface="+mj-lt"/>
                        </a:rPr>
                        <a:t>12.007.629</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solidFill>
                            <a:srgbClr val="FF0000"/>
                          </a:solidFill>
                          <a:effectLst/>
                          <a:latin typeface="+mj-lt"/>
                        </a:rPr>
                        <a:t>11.992,391 - 12.050,447</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0858975"/>
                  </a:ext>
                </a:extLst>
              </a:tr>
              <a:tr h="211021">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Nông, lâm, thuỷ sản</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Triệu đồng</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6.139.057</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6.145.014</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6.139,057 - 6.145,014</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40069588"/>
                  </a:ext>
                </a:extLst>
              </a:tr>
              <a:tr h="211021">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Công nghiệp và xây dựng</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Triệu đồng</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3.100.158</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3.121.085</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3.117,287 -3.144,462</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09941741"/>
                  </a:ext>
                </a:extLst>
              </a:tr>
              <a:tr h="211021">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 Công nghiệp</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Triệu đồng</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2.343.830</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2.364.757</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2.359,525 - 2.380,033</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0549148"/>
                  </a:ext>
                </a:extLst>
              </a:tr>
              <a:tr h="211021">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 Xây dựng</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Triệu đồng</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756.328</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756.328</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757.762 - 764.429</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9946641"/>
                  </a:ext>
                </a:extLst>
              </a:tr>
              <a:tr h="211021">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Dịch vụ</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Triệu đồng</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2.729.069</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2.741.530</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2.736,047 - 2.760,970</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31552811"/>
                  </a:ext>
                </a:extLst>
              </a:tr>
              <a:tr h="211021">
                <a:tc>
                  <a:txBody>
                    <a:bodyPr/>
                    <a:lstStyle/>
                    <a:p>
                      <a:pPr algn="ctr" fontAlgn="ctr"/>
                      <a:r>
                        <a:rPr lang="vi-VN" sz="1000" u="none" strike="noStrike">
                          <a:solidFill>
                            <a:srgbClr val="FF0000"/>
                          </a:solidFill>
                          <a:effectLst/>
                          <a:latin typeface="+mj-lt"/>
                        </a:rPr>
                        <a:t>2</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solidFill>
                            <a:srgbClr val="FF0000"/>
                          </a:solidFill>
                          <a:effectLst/>
                          <a:latin typeface="+mj-lt"/>
                        </a:rPr>
                        <a:t>Tốc độ tăng giá trị sản phẩm</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6,30</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solidFill>
                            <a:srgbClr val="FF0000"/>
                          </a:solidFill>
                          <a:effectLst/>
                          <a:latin typeface="+mj-lt"/>
                        </a:rPr>
                        <a:t>6,65</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solidFill>
                            <a:srgbClr val="FF0000"/>
                          </a:solidFill>
                          <a:effectLst/>
                          <a:latin typeface="+mj-lt"/>
                        </a:rPr>
                        <a:t>6,51 - 7,03</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58295259"/>
                  </a:ext>
                </a:extLst>
              </a:tr>
              <a:tr h="211021">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Nông, lâm, thuỷ sản</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3,05</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3,15</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3,05 – 3,15</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3048430"/>
                  </a:ext>
                </a:extLst>
              </a:tr>
              <a:tr h="211021">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Công nghiệp và xây dựng</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10,34</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11,09</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10,95 – 11,92</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15598491"/>
                  </a:ext>
                </a:extLst>
              </a:tr>
              <a:tr h="211021">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 Công nghiệp</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12,00</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13,00</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12,75-  13,73</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8437677"/>
                  </a:ext>
                </a:extLst>
              </a:tr>
              <a:tr h="211021">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 Xây dựng</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5,50</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5,50</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5,70 -  6,63</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37535693"/>
                  </a:ext>
                </a:extLst>
              </a:tr>
              <a:tr h="211021">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Dịch vụ</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9,50</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10,00</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vi-VN" sz="1000" u="none" strike="noStrike">
                          <a:effectLst/>
                          <a:latin typeface="+mj-lt"/>
                        </a:rPr>
                        <a:t>9,78 – 10,78</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70026139"/>
                  </a:ext>
                </a:extLst>
              </a:tr>
              <a:tr h="236344">
                <a:tc>
                  <a:txBody>
                    <a:bodyPr/>
                    <a:lstStyle/>
                    <a:p>
                      <a:pPr algn="ctr" fontAlgn="ctr"/>
                      <a:r>
                        <a:rPr lang="vi-VN" sz="1000" u="none" strike="noStrike">
                          <a:effectLst/>
                          <a:latin typeface="+mj-lt"/>
                        </a:rPr>
                        <a:t>3</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Kim ngạch xuất khẩu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Triệu USD</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8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8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52456455"/>
                  </a:ext>
                </a:extLst>
              </a:tr>
              <a:tr h="211021">
                <a:tc>
                  <a:txBody>
                    <a:bodyPr/>
                    <a:lstStyle/>
                    <a:p>
                      <a:pPr algn="ctr" fontAlgn="ctr"/>
                      <a:r>
                        <a:rPr lang="vi-VN" sz="1000" u="none" strike="noStrike">
                          <a:solidFill>
                            <a:srgbClr val="FF0000"/>
                          </a:solidFill>
                          <a:effectLst/>
                          <a:latin typeface="+mj-lt"/>
                        </a:rPr>
                        <a:t>4</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solidFill>
                            <a:srgbClr val="FF0000"/>
                          </a:solidFill>
                          <a:effectLst/>
                          <a:latin typeface="+mj-lt"/>
                        </a:rPr>
                        <a:t>Tổng thu ngân sách trên địa bàn</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Triệu đồng</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358.750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459.350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5564276"/>
                  </a:ext>
                </a:extLst>
              </a:tr>
              <a:tr h="211021">
                <a:tc>
                  <a:txBody>
                    <a:bodyPr/>
                    <a:lstStyle/>
                    <a:p>
                      <a:pPr algn="ctr" fontAlgn="ctr"/>
                      <a:r>
                        <a:rPr lang="vi-VN" sz="1000" u="none" strike="noStrike">
                          <a:effectLst/>
                          <a:latin typeface="+mj-lt"/>
                        </a:rPr>
                        <a:t> </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 Thu tiền sử dụng đất</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Triệu đồng</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150.000 </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250.000 </a:t>
                      </a:r>
                      <a:endParaRPr lang="vi-VN" sz="1000" b="0" i="1"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57932090"/>
                  </a:ext>
                </a:extLst>
              </a:tr>
              <a:tr h="211021">
                <a:tc>
                  <a:txBody>
                    <a:bodyPr/>
                    <a:lstStyle/>
                    <a:p>
                      <a:pPr algn="ctr" fontAlgn="ctr"/>
                      <a:r>
                        <a:rPr lang="vi-VN" sz="1000" u="none" strike="noStrike">
                          <a:solidFill>
                            <a:srgbClr val="FF0000"/>
                          </a:solidFill>
                          <a:effectLst/>
                          <a:latin typeface="+mj-lt"/>
                        </a:rPr>
                        <a:t>5</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solidFill>
                            <a:srgbClr val="FF0000"/>
                          </a:solidFill>
                          <a:effectLst/>
                          <a:latin typeface="+mj-lt"/>
                        </a:rPr>
                        <a:t>Doanh thu bán lẻ hàng hóa và dịch vụ</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Tỷ đồng</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5.898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6.370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54444842"/>
                  </a:ext>
                </a:extLst>
              </a:tr>
              <a:tr h="211021">
                <a:tc>
                  <a:txBody>
                    <a:bodyPr/>
                    <a:lstStyle/>
                    <a:p>
                      <a:pPr algn="ctr" fontAlgn="ctr"/>
                      <a:r>
                        <a:rPr lang="vi-VN" sz="1000" u="none" strike="noStrike">
                          <a:effectLst/>
                          <a:latin typeface="+mj-lt"/>
                        </a:rPr>
                        <a:t>6</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Tỷ lệ dân số tham gia bảo hiểm y tế</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93,80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93,80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61089402"/>
                  </a:ext>
                </a:extLst>
              </a:tr>
              <a:tr h="211021">
                <a:tc>
                  <a:txBody>
                    <a:bodyPr/>
                    <a:lstStyle/>
                    <a:p>
                      <a:pPr algn="ctr" fontAlgn="ctr"/>
                      <a:r>
                        <a:rPr lang="vi-VN" sz="1000" u="none" strike="noStrike">
                          <a:effectLst/>
                          <a:latin typeface="+mj-lt"/>
                        </a:rPr>
                        <a:t>7</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Tỷ lệ trẻ em dưới 5 tuổi suy dinh dưỡng thể nhẹ cân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8,41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8,41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8083718"/>
                  </a:ext>
                </a:extLst>
              </a:tr>
              <a:tr h="211021">
                <a:tc>
                  <a:txBody>
                    <a:bodyPr/>
                    <a:lstStyle/>
                    <a:p>
                      <a:pPr algn="ctr" fontAlgn="ctr"/>
                      <a:r>
                        <a:rPr lang="vi-VN" sz="1000" u="none" strike="noStrike">
                          <a:effectLst/>
                          <a:latin typeface="+mj-lt"/>
                        </a:rPr>
                        <a:t>8</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Giảm tỷ lệ nghèo đa chiều</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1,08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1,09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55995664"/>
                  </a:ext>
                </a:extLst>
              </a:tr>
              <a:tr h="211021">
                <a:tc>
                  <a:txBody>
                    <a:bodyPr/>
                    <a:lstStyle/>
                    <a:p>
                      <a:pPr algn="ctr" fontAlgn="ctr"/>
                      <a:r>
                        <a:rPr lang="vi-VN" sz="1000" u="none" strike="noStrike">
                          <a:effectLst/>
                          <a:latin typeface="+mj-lt"/>
                        </a:rPr>
                        <a:t>9</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Bảo hiểm xã hội tự nguyện</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Người</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2.124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2.124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2031196"/>
                  </a:ext>
                </a:extLst>
              </a:tr>
              <a:tr h="211021">
                <a:tc>
                  <a:txBody>
                    <a:bodyPr/>
                    <a:lstStyle/>
                    <a:p>
                      <a:pPr algn="ctr" fontAlgn="ctr"/>
                      <a:r>
                        <a:rPr lang="vi-VN" sz="1000" u="none" strike="noStrike">
                          <a:solidFill>
                            <a:srgbClr val="FF0000"/>
                          </a:solidFill>
                          <a:effectLst/>
                          <a:latin typeface="+mj-lt"/>
                        </a:rPr>
                        <a:t>10</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solidFill>
                            <a:srgbClr val="FF0000"/>
                          </a:solidFill>
                          <a:effectLst/>
                          <a:latin typeface="+mj-lt"/>
                        </a:rPr>
                        <a:t>Tạo việc làm mới</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Người</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2.200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2.300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25121078"/>
                  </a:ext>
                </a:extLst>
              </a:tr>
              <a:tr h="211021">
                <a:tc>
                  <a:txBody>
                    <a:bodyPr/>
                    <a:lstStyle/>
                    <a:p>
                      <a:pPr algn="ctr" fontAlgn="ctr"/>
                      <a:r>
                        <a:rPr lang="vi-VN" sz="1000" u="none" strike="noStrike">
                          <a:solidFill>
                            <a:srgbClr val="FF0000"/>
                          </a:solidFill>
                          <a:effectLst/>
                          <a:latin typeface="+mj-lt"/>
                        </a:rPr>
                        <a:t>11</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solidFill>
                            <a:srgbClr val="FF0000"/>
                          </a:solidFill>
                          <a:effectLst/>
                          <a:latin typeface="+mj-lt"/>
                        </a:rPr>
                        <a:t>Đào tạo nghề lao động nông thôn</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Người</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300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500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9629021"/>
                  </a:ext>
                </a:extLst>
              </a:tr>
              <a:tr h="211021">
                <a:tc>
                  <a:txBody>
                    <a:bodyPr/>
                    <a:lstStyle/>
                    <a:p>
                      <a:pPr algn="ctr" fontAlgn="ctr"/>
                      <a:r>
                        <a:rPr lang="vi-VN" sz="1000" u="none" strike="noStrike">
                          <a:effectLst/>
                          <a:latin typeface="+mj-lt"/>
                        </a:rPr>
                        <a:t>12</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Tỷ lệ che phủ rừng</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33,25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33,25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00354406"/>
                  </a:ext>
                </a:extLst>
              </a:tr>
              <a:tr h="211021">
                <a:tc>
                  <a:txBody>
                    <a:bodyPr/>
                    <a:lstStyle/>
                    <a:p>
                      <a:pPr algn="ctr" fontAlgn="ctr"/>
                      <a:r>
                        <a:rPr lang="vi-VN" sz="1000" u="none" strike="noStrike">
                          <a:solidFill>
                            <a:srgbClr val="FF0000"/>
                          </a:solidFill>
                          <a:effectLst/>
                          <a:latin typeface="+mj-lt"/>
                        </a:rPr>
                        <a:t>13</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solidFill>
                            <a:srgbClr val="FF0000"/>
                          </a:solidFill>
                          <a:effectLst/>
                          <a:latin typeface="+mj-lt"/>
                        </a:rPr>
                        <a:t>Tỷ lệ dân cư đô thị sử dụng nước sạch</a:t>
                      </a:r>
                      <a:endParaRPr lang="vi-VN" sz="1000" b="1"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69,92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solidFill>
                            <a:srgbClr val="FF0000"/>
                          </a:solidFill>
                          <a:effectLst/>
                          <a:latin typeface="+mj-lt"/>
                        </a:rPr>
                        <a:t>                               74,09 </a:t>
                      </a:r>
                      <a:endParaRPr lang="vi-VN" sz="1000" b="0" i="0" u="none" strike="noStrike">
                        <a:solidFill>
                          <a:srgbClr val="FF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40554261"/>
                  </a:ext>
                </a:extLst>
              </a:tr>
              <a:tr h="211021">
                <a:tc>
                  <a:txBody>
                    <a:bodyPr/>
                    <a:lstStyle/>
                    <a:p>
                      <a:pPr algn="ctr" fontAlgn="ctr"/>
                      <a:r>
                        <a:rPr lang="vi-VN" sz="1000" u="none" strike="noStrike">
                          <a:effectLst/>
                          <a:latin typeface="+mj-lt"/>
                        </a:rPr>
                        <a:t>14</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000" u="none" strike="noStrike">
                          <a:effectLst/>
                          <a:latin typeface="+mj-lt"/>
                        </a:rPr>
                        <a:t>Tỷ lệ chất thải rắn ở đô thị được thu gom</a:t>
                      </a:r>
                      <a:endParaRPr lang="vi-VN" sz="10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70,00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mj-lt"/>
                        </a:rPr>
                        <a:t>                               70,00 </a:t>
                      </a:r>
                      <a:endParaRPr lang="vi-VN" sz="10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89039897"/>
                  </a:ext>
                </a:extLst>
              </a:tr>
            </a:tbl>
          </a:graphicData>
        </a:graphic>
      </p:graphicFrame>
    </p:spTree>
    <p:extLst>
      <p:ext uri="{BB962C8B-B14F-4D97-AF65-F5344CB8AC3E}">
        <p14:creationId xmlns:p14="http://schemas.microsoft.com/office/powerpoint/2010/main" val="257431362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237</TotalTime>
  <Words>9820</Words>
  <Application>Microsoft Office PowerPoint</Application>
  <PresentationFormat>Widescreen</PresentationFormat>
  <Paragraphs>3297</Paragraphs>
  <Slides>47</Slides>
  <Notes>2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7</vt:i4>
      </vt:variant>
    </vt:vector>
  </HeadingPairs>
  <TitlesOfParts>
    <vt:vector size="58" baseType="lpstr">
      <vt:lpstr>ＭＳ Ｐゴシック</vt:lpstr>
      <vt:lpstr>Arial</vt:lpstr>
      <vt:lpstr>Calibri</vt:lpstr>
      <vt:lpstr>Calibri Light</vt:lpstr>
      <vt:lpstr>Segoe UI</vt:lpstr>
      <vt:lpstr>Times New Roman</vt:lpstr>
      <vt:lpstr>Verdana</vt:lpstr>
      <vt:lpstr>Wingdings</vt:lpstr>
      <vt:lpstr>Office Theme</vt:lpstr>
      <vt:lpstr>1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Tường SKHĐT</cp:lastModifiedBy>
  <cp:revision>1254</cp:revision>
  <cp:lastPrinted>2023-02-15T11:16:09Z</cp:lastPrinted>
  <dcterms:created xsi:type="dcterms:W3CDTF">2021-10-19T01:28:52Z</dcterms:created>
  <dcterms:modified xsi:type="dcterms:W3CDTF">2023-03-09T10:23:22Z</dcterms:modified>
</cp:coreProperties>
</file>